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ink/ink9.xml" ContentType="application/inkml+xml"/>
  <Override PartName="/ppt/ink/ink10.xml" ContentType="application/inkml+xml"/>
  <Override PartName="/ppt/ink/ink11.xml" ContentType="application/inkml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sldIdLst>
    <p:sldId id="261" r:id="rId2"/>
    <p:sldId id="288" r:id="rId3"/>
    <p:sldId id="289" r:id="rId4"/>
    <p:sldId id="272" r:id="rId5"/>
    <p:sldId id="273" r:id="rId6"/>
    <p:sldId id="274" r:id="rId7"/>
    <p:sldId id="290" r:id="rId8"/>
    <p:sldId id="264" r:id="rId9"/>
    <p:sldId id="302" r:id="rId10"/>
    <p:sldId id="291" r:id="rId11"/>
    <p:sldId id="292" r:id="rId12"/>
    <p:sldId id="267" r:id="rId13"/>
    <p:sldId id="282" r:id="rId14"/>
    <p:sldId id="299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683B"/>
    <a:srgbClr val="C67A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74" d="100"/>
          <a:sy n="74" d="100"/>
        </p:scale>
        <p:origin x="1013" y="58"/>
      </p:cViewPr>
      <p:guideLst>
        <p:guide orient="horz" pos="2160"/>
        <p:guide pos="38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roslav Zhydyk" userId="feca11449df7c5ed" providerId="LiveId" clId="{0BC5B8D5-AC86-450A-8694-FC801A3CEF1C}"/>
    <pc:docChg chg="custSel modSld">
      <pc:chgData name="Yaroslav Zhydyk" userId="feca11449df7c5ed" providerId="LiveId" clId="{0BC5B8D5-AC86-450A-8694-FC801A3CEF1C}" dt="2023-09-09T08:18:11.390" v="0" actId="478"/>
      <pc:docMkLst>
        <pc:docMk/>
      </pc:docMkLst>
      <pc:sldChg chg="delSp mod">
        <pc:chgData name="Yaroslav Zhydyk" userId="feca11449df7c5ed" providerId="LiveId" clId="{0BC5B8D5-AC86-450A-8694-FC801A3CEF1C}" dt="2023-09-09T08:18:11.390" v="0" actId="478"/>
        <pc:sldMkLst>
          <pc:docMk/>
          <pc:sldMk cId="980141862" sldId="261"/>
        </pc:sldMkLst>
        <pc:picChg chg="del">
          <ac:chgData name="Yaroslav Zhydyk" userId="feca11449df7c5ed" providerId="LiveId" clId="{0BC5B8D5-AC86-450A-8694-FC801A3CEF1C}" dt="2023-09-09T08:18:11.390" v="0" actId="478"/>
          <ac:picMkLst>
            <pc:docMk/>
            <pc:sldMk cId="980141862" sldId="261"/>
            <ac:picMk id="10" creationId="{D33600C4-DC7C-487F-9416-8C7112432B9A}"/>
          </ac:picMkLst>
        </pc:picChg>
      </pc:sldChg>
    </pc:docChg>
  </pc:docChgLst>
  <pc:docChgLst>
    <pc:chgData name="Yaroslav Zhydyk" userId="feca11449df7c5ed" providerId="LiveId" clId="{1F616E6B-9D49-446D-979D-3B324770BFF3}"/>
    <pc:docChg chg="undo custSel addSld delSld modSld replTag">
      <pc:chgData name="Yaroslav Zhydyk" userId="feca11449df7c5ed" providerId="LiveId" clId="{1F616E6B-9D49-446D-979D-3B324770BFF3}" dt="2022-11-12T19:24:12.997" v="989" actId="20577"/>
      <pc:docMkLst>
        <pc:docMk/>
      </pc:docMkLst>
      <pc:sldChg chg="del">
        <pc:chgData name="Yaroslav Zhydyk" userId="feca11449df7c5ed" providerId="LiveId" clId="{1F616E6B-9D49-446D-979D-3B324770BFF3}" dt="2022-11-11T15:51:24.300" v="8" actId="47"/>
        <pc:sldMkLst>
          <pc:docMk/>
          <pc:sldMk cId="3493935180" sldId="256"/>
        </pc:sldMkLst>
      </pc:sldChg>
      <pc:sldChg chg="del">
        <pc:chgData name="Yaroslav Zhydyk" userId="feca11449df7c5ed" providerId="LiveId" clId="{1F616E6B-9D49-446D-979D-3B324770BFF3}" dt="2022-11-11T15:51:24.300" v="8" actId="47"/>
        <pc:sldMkLst>
          <pc:docMk/>
          <pc:sldMk cId="2207511441" sldId="257"/>
        </pc:sldMkLst>
      </pc:sldChg>
      <pc:sldChg chg="del">
        <pc:chgData name="Yaroslav Zhydyk" userId="feca11449df7c5ed" providerId="LiveId" clId="{1F616E6B-9D49-446D-979D-3B324770BFF3}" dt="2022-11-11T15:51:24.300" v="8" actId="47"/>
        <pc:sldMkLst>
          <pc:docMk/>
          <pc:sldMk cId="428792147" sldId="258"/>
        </pc:sldMkLst>
      </pc:sldChg>
      <pc:sldChg chg="modSp add mod">
        <pc:chgData name="Yaroslav Zhydyk" userId="feca11449df7c5ed" providerId="LiveId" clId="{1F616E6B-9D49-446D-979D-3B324770BFF3}" dt="2022-11-11T16:15:09.501" v="499" actId="207"/>
        <pc:sldMkLst>
          <pc:docMk/>
          <pc:sldMk cId="980141862" sldId="261"/>
        </pc:sldMkLst>
        <pc:spChg chg="mod">
          <ac:chgData name="Yaroslav Zhydyk" userId="feca11449df7c5ed" providerId="LiveId" clId="{1F616E6B-9D49-446D-979D-3B324770BFF3}" dt="2022-11-11T15:51:11.151" v="3"/>
          <ac:spMkLst>
            <pc:docMk/>
            <pc:sldMk cId="980141862" sldId="261"/>
            <ac:spMk id="2" creationId="{68D5F1BF-947A-0F44-F59A-88E76FEA875F}"/>
          </ac:spMkLst>
        </pc:spChg>
        <pc:spChg chg="mod">
          <ac:chgData name="Yaroslav Zhydyk" userId="feca11449df7c5ed" providerId="LiveId" clId="{1F616E6B-9D49-446D-979D-3B324770BFF3}" dt="2022-11-11T16:14:28.685" v="26" actId="207"/>
          <ac:spMkLst>
            <pc:docMk/>
            <pc:sldMk cId="980141862" sldId="261"/>
            <ac:spMk id="3" creationId="{71465413-A61B-484B-3274-3F9F60E5DEA1}"/>
          </ac:spMkLst>
        </pc:spChg>
        <pc:spChg chg="mod">
          <ac:chgData name="Yaroslav Zhydyk" userId="feca11449df7c5ed" providerId="LiveId" clId="{1F616E6B-9D49-446D-979D-3B324770BFF3}" dt="2022-11-11T16:15:04.270" v="498" actId="207"/>
          <ac:spMkLst>
            <pc:docMk/>
            <pc:sldMk cId="980141862" sldId="261"/>
            <ac:spMk id="5" creationId="{D366CD11-E393-D3E5-DB17-3B9C346CEB77}"/>
          </ac:spMkLst>
        </pc:spChg>
        <pc:spChg chg="mod">
          <ac:chgData name="Yaroslav Zhydyk" userId="feca11449df7c5ed" providerId="LiveId" clId="{1F616E6B-9D49-446D-979D-3B324770BFF3}" dt="2022-11-11T16:15:09.501" v="499" actId="207"/>
          <ac:spMkLst>
            <pc:docMk/>
            <pc:sldMk cId="980141862" sldId="261"/>
            <ac:spMk id="6" creationId="{5FE7DACE-6813-BF9B-659A-4293B74087FE}"/>
          </ac:spMkLst>
        </pc:spChg>
        <pc:spChg chg="mod">
          <ac:chgData name="Yaroslav Zhydyk" userId="feca11449df7c5ed" providerId="LiveId" clId="{1F616E6B-9D49-446D-979D-3B324770BFF3}" dt="2022-11-11T16:15:04.270" v="498" actId="207"/>
          <ac:spMkLst>
            <pc:docMk/>
            <pc:sldMk cId="980141862" sldId="261"/>
            <ac:spMk id="7" creationId="{5AFFE72B-B4B5-0580-154F-C04392A07F3D}"/>
          </ac:spMkLst>
        </pc:spChg>
        <pc:spChg chg="mod">
          <ac:chgData name="Yaroslav Zhydyk" userId="feca11449df7c5ed" providerId="LiveId" clId="{1F616E6B-9D49-446D-979D-3B324770BFF3}" dt="2022-11-11T16:14:38.767" v="27" actId="207"/>
          <ac:spMkLst>
            <pc:docMk/>
            <pc:sldMk cId="980141862" sldId="261"/>
            <ac:spMk id="12" creationId="{990FB24F-163A-4FA8-0EA2-320C39A2A8C6}"/>
          </ac:spMkLst>
        </pc:spChg>
        <pc:spChg chg="mod">
          <ac:chgData name="Yaroslav Zhydyk" userId="feca11449df7c5ed" providerId="LiveId" clId="{1F616E6B-9D49-446D-979D-3B324770BFF3}" dt="2022-11-11T16:15:04.270" v="498" actId="207"/>
          <ac:spMkLst>
            <pc:docMk/>
            <pc:sldMk cId="980141862" sldId="261"/>
            <ac:spMk id="13" creationId="{CA70F889-CBA8-64C9-3A37-80280E176B9C}"/>
          </ac:spMkLst>
        </pc:spChg>
        <pc:spChg chg="mod">
          <ac:chgData name="Yaroslav Zhydyk" userId="feca11449df7c5ed" providerId="LiveId" clId="{1F616E6B-9D49-446D-979D-3B324770BFF3}" dt="2022-11-11T16:15:04.270" v="498" actId="207"/>
          <ac:spMkLst>
            <pc:docMk/>
            <pc:sldMk cId="980141862" sldId="261"/>
            <ac:spMk id="14" creationId="{84E970ED-448F-42E6-D4D7-523B3D6E3E35}"/>
          </ac:spMkLst>
        </pc:spChg>
      </pc:sldChg>
      <pc:sldChg chg="delSp modSp add del mod">
        <pc:chgData name="Yaroslav Zhydyk" userId="feca11449df7c5ed" providerId="LiveId" clId="{1F616E6B-9D49-446D-979D-3B324770BFF3}" dt="2022-11-12T17:04:37.438" v="537" actId="47"/>
        <pc:sldMkLst>
          <pc:docMk/>
          <pc:sldMk cId="2662900050" sldId="262"/>
        </pc:sldMkLst>
        <pc:spChg chg="mod">
          <ac:chgData name="Yaroslav Zhydyk" userId="feca11449df7c5ed" providerId="LiveId" clId="{1F616E6B-9D49-446D-979D-3B324770BFF3}" dt="2022-11-11T16:15:14.230" v="500" actId="207"/>
          <ac:spMkLst>
            <pc:docMk/>
            <pc:sldMk cId="2662900050" sldId="262"/>
            <ac:spMk id="5" creationId="{805F823C-4B4D-4EC8-15D7-D1C57874B9C0}"/>
          </ac:spMkLst>
        </pc:spChg>
        <pc:spChg chg="mod">
          <ac:chgData name="Yaroslav Zhydyk" userId="feca11449df7c5ed" providerId="LiveId" clId="{1F616E6B-9D49-446D-979D-3B324770BFF3}" dt="2022-11-11T15:55:54.072" v="25" actId="20577"/>
          <ac:spMkLst>
            <pc:docMk/>
            <pc:sldMk cId="2662900050" sldId="262"/>
            <ac:spMk id="6" creationId="{5A21E845-2226-7304-74F6-3CCDF0BD57C7}"/>
          </ac:spMkLst>
        </pc:spChg>
        <pc:picChg chg="del">
          <ac:chgData name="Yaroslav Zhydyk" userId="feca11449df7c5ed" providerId="LiveId" clId="{1F616E6B-9D49-446D-979D-3B324770BFF3}" dt="2022-11-11T15:55:51.627" v="19" actId="478"/>
          <ac:picMkLst>
            <pc:docMk/>
            <pc:sldMk cId="2662900050" sldId="262"/>
            <ac:picMk id="2050" creationId="{D1519553-445D-B53C-10B8-90FD2DA6A3C2}"/>
          </ac:picMkLst>
        </pc:picChg>
      </pc:sldChg>
      <pc:sldChg chg="addSp delSp modSp add mod">
        <pc:chgData name="Yaroslav Zhydyk" userId="feca11449df7c5ed" providerId="LiveId" clId="{1F616E6B-9D49-446D-979D-3B324770BFF3}" dt="2022-11-12T19:24:12.997" v="989" actId="20577"/>
        <pc:sldMkLst>
          <pc:docMk/>
          <pc:sldMk cId="3044100386" sldId="264"/>
        </pc:sldMkLst>
        <pc:spChg chg="mod">
          <ac:chgData name="Yaroslav Zhydyk" userId="feca11449df7c5ed" providerId="LiveId" clId="{1F616E6B-9D49-446D-979D-3B324770BFF3}" dt="2022-11-11T16:14:50.230" v="180" actId="948"/>
          <ac:spMkLst>
            <pc:docMk/>
            <pc:sldMk cId="3044100386" sldId="264"/>
            <ac:spMk id="2" creationId="{0678B3F8-9855-9F7A-5141-EF78BE550FD1}"/>
          </ac:spMkLst>
        </pc:spChg>
        <pc:spChg chg="add del mod modVis">
          <ac:chgData name="Yaroslav Zhydyk" userId="feca11449df7c5ed" providerId="LiveId" clId="{1F616E6B-9D49-446D-979D-3B324770BFF3}" dt="2022-11-11T16:14:50.431" v="471"/>
          <ac:spMkLst>
            <pc:docMk/>
            <pc:sldMk cId="3044100386" sldId="264"/>
            <ac:spMk id="3" creationId="{E3F3B67D-50F5-D99F-5497-A9927A060495}"/>
          </ac:spMkLst>
        </pc:spChg>
        <pc:spChg chg="mod">
          <ac:chgData name="Yaroslav Zhydyk" userId="feca11449df7c5ed" providerId="LiveId" clId="{1F616E6B-9D49-446D-979D-3B324770BFF3}" dt="2022-11-12T19:24:12.997" v="989" actId="20577"/>
          <ac:spMkLst>
            <pc:docMk/>
            <pc:sldMk cId="3044100386" sldId="264"/>
            <ac:spMk id="11" creationId="{A3448A9F-0516-CCD2-5058-56C9DEB71641}"/>
          </ac:spMkLst>
        </pc:spChg>
        <pc:graphicFrameChg chg="mod">
          <ac:chgData name="Yaroslav Zhydyk" userId="feca11449df7c5ed" providerId="LiveId" clId="{1F616E6B-9D49-446D-979D-3B324770BFF3}" dt="2022-11-11T16:14:50.433" v="473"/>
          <ac:graphicFrameMkLst>
            <pc:docMk/>
            <pc:sldMk cId="3044100386" sldId="264"/>
            <ac:graphicFrameMk id="6" creationId="{93B653CE-F36B-F172-D6FB-FDD8CEB8B4B1}"/>
          </ac:graphicFrameMkLst>
        </pc:graphicFrameChg>
        <pc:picChg chg="add mod">
          <ac:chgData name="Yaroslav Zhydyk" userId="feca11449df7c5ed" providerId="LiveId" clId="{1F616E6B-9D49-446D-979D-3B324770BFF3}" dt="2022-11-11T16:17:25.822" v="531"/>
          <ac:picMkLst>
            <pc:docMk/>
            <pc:sldMk cId="3044100386" sldId="264"/>
            <ac:picMk id="4" creationId="{B177F80C-F3A7-D97B-FB56-842E883F7F12}"/>
          </ac:picMkLst>
        </pc:picChg>
      </pc:sldChg>
      <pc:sldChg chg="addSp delSp modSp add mod">
        <pc:chgData name="Yaroslav Zhydyk" userId="feca11449df7c5ed" providerId="LiveId" clId="{1F616E6B-9D49-446D-979D-3B324770BFF3}" dt="2022-11-11T16:17:36.147" v="534"/>
        <pc:sldMkLst>
          <pc:docMk/>
          <pc:sldMk cId="3116349580" sldId="267"/>
        </pc:sldMkLst>
        <pc:spChg chg="mod">
          <ac:chgData name="Yaroslav Zhydyk" userId="feca11449df7c5ed" providerId="LiveId" clId="{1F616E6B-9D49-446D-979D-3B324770BFF3}" dt="2022-11-11T16:14:50.393" v="414" actId="948"/>
          <ac:spMkLst>
            <pc:docMk/>
            <pc:sldMk cId="3116349580" sldId="267"/>
            <ac:spMk id="2" creationId="{0678B3F8-9855-9F7A-5141-EF78BE550FD1}"/>
          </ac:spMkLst>
        </pc:spChg>
        <pc:spChg chg="add del mod modVis">
          <ac:chgData name="Yaroslav Zhydyk" userId="feca11449df7c5ed" providerId="LiveId" clId="{1F616E6B-9D49-446D-979D-3B324770BFF3}" dt="2022-11-11T16:14:50.444" v="495"/>
          <ac:spMkLst>
            <pc:docMk/>
            <pc:sldMk cId="3116349580" sldId="267"/>
            <ac:spMk id="19" creationId="{827754EE-42B4-FD85-AA71-7638F6B0CB9B}"/>
          </ac:spMkLst>
        </pc:spChg>
        <pc:graphicFrameChg chg="mod">
          <ac:chgData name="Yaroslav Zhydyk" userId="feca11449df7c5ed" providerId="LiveId" clId="{1F616E6B-9D49-446D-979D-3B324770BFF3}" dt="2022-11-11T16:14:50.446" v="497"/>
          <ac:graphicFrameMkLst>
            <pc:docMk/>
            <pc:sldMk cId="3116349580" sldId="267"/>
            <ac:graphicFrameMk id="6" creationId="{93B653CE-F36B-F172-D6FB-FDD8CEB8B4B1}"/>
          </ac:graphicFrameMkLst>
        </pc:graphicFrameChg>
        <pc:picChg chg="add mod">
          <ac:chgData name="Yaroslav Zhydyk" userId="feca11449df7c5ed" providerId="LiveId" clId="{1F616E6B-9D49-446D-979D-3B324770BFF3}" dt="2022-11-11T16:17:36.147" v="534"/>
          <ac:picMkLst>
            <pc:docMk/>
            <pc:sldMk cId="3116349580" sldId="267"/>
            <ac:picMk id="20" creationId="{D9E12EFD-715F-C807-524E-9613CCEBBBE6}"/>
          </ac:picMkLst>
        </pc:picChg>
      </pc:sldChg>
      <pc:sldChg chg="addSp delSp modSp add mod">
        <pc:chgData name="Yaroslav Zhydyk" userId="feca11449df7c5ed" providerId="LiveId" clId="{1F616E6B-9D49-446D-979D-3B324770BFF3}" dt="2022-11-11T16:17:15.209" v="527"/>
        <pc:sldMkLst>
          <pc:docMk/>
          <pc:sldMk cId="300541227" sldId="272"/>
        </pc:sldMkLst>
        <pc:spChg chg="mod">
          <ac:chgData name="Yaroslav Zhydyk" userId="feca11449df7c5ed" providerId="LiveId" clId="{1F616E6B-9D49-446D-979D-3B324770BFF3}" dt="2022-11-11T16:14:50.024" v="28" actId="948"/>
          <ac:spMkLst>
            <pc:docMk/>
            <pc:sldMk cId="300541227" sldId="272"/>
            <ac:spMk id="2" creationId="{106254B4-26CC-E4C5-15D6-2853E65A2F32}"/>
          </ac:spMkLst>
        </pc:spChg>
        <pc:spChg chg="add del mod modVis">
          <ac:chgData name="Yaroslav Zhydyk" userId="feca11449df7c5ed" providerId="LiveId" clId="{1F616E6B-9D49-446D-979D-3B324770BFF3}" dt="2022-11-11T16:14:50.413" v="455"/>
          <ac:spMkLst>
            <pc:docMk/>
            <pc:sldMk cId="300541227" sldId="272"/>
            <ac:spMk id="3" creationId="{1056CB67-57E1-8C31-8A0A-E2C7881CE1C2}"/>
          </ac:spMkLst>
        </pc:spChg>
        <pc:graphicFrameChg chg="mod">
          <ac:chgData name="Yaroslav Zhydyk" userId="feca11449df7c5ed" providerId="LiveId" clId="{1F616E6B-9D49-446D-979D-3B324770BFF3}" dt="2022-11-11T16:14:50.414" v="457"/>
          <ac:graphicFrameMkLst>
            <pc:docMk/>
            <pc:sldMk cId="300541227" sldId="272"/>
            <ac:graphicFrameMk id="6" creationId="{5AAA58AB-21BE-1163-A350-F673B942EAD4}"/>
          </ac:graphicFrameMkLst>
        </pc:graphicFrameChg>
        <pc:picChg chg="add mod">
          <ac:chgData name="Yaroslav Zhydyk" userId="feca11449df7c5ed" providerId="LiveId" clId="{1F616E6B-9D49-446D-979D-3B324770BFF3}" dt="2022-11-11T16:17:15.209" v="527"/>
          <ac:picMkLst>
            <pc:docMk/>
            <pc:sldMk cId="300541227" sldId="272"/>
            <ac:picMk id="4" creationId="{BFBA6D7F-B6FA-4738-7C47-C20C83E9DC82}"/>
          </ac:picMkLst>
        </pc:picChg>
      </pc:sldChg>
      <pc:sldChg chg="addSp delSp modSp add mod">
        <pc:chgData name="Yaroslav Zhydyk" userId="feca11449df7c5ed" providerId="LiveId" clId="{1F616E6B-9D49-446D-979D-3B324770BFF3}" dt="2022-11-12T19:23:39.566" v="966" actId="478"/>
        <pc:sldMkLst>
          <pc:docMk/>
          <pc:sldMk cId="3091902897" sldId="273"/>
        </pc:sldMkLst>
        <pc:spChg chg="mod">
          <ac:chgData name="Yaroslav Zhydyk" userId="feca11449df7c5ed" providerId="LiveId" clId="{1F616E6B-9D49-446D-979D-3B324770BFF3}" dt="2022-11-12T19:23:37.606" v="922" actId="948"/>
          <ac:spMkLst>
            <pc:docMk/>
            <pc:sldMk cId="3091902897" sldId="273"/>
            <ac:spMk id="2" creationId="{5ADCA2DF-5C4A-FDCE-E52F-FFA285DD46BF}"/>
          </ac:spMkLst>
        </pc:spChg>
        <pc:spChg chg="add del mod modVis">
          <ac:chgData name="Yaroslav Zhydyk" userId="feca11449df7c5ed" providerId="LiveId" clId="{1F616E6B-9D49-446D-979D-3B324770BFF3}" dt="2022-11-12T19:23:30.832" v="722"/>
          <ac:spMkLst>
            <pc:docMk/>
            <pc:sldMk cId="3091902897" sldId="273"/>
            <ac:spMk id="3" creationId="{431E7CF7-90FB-F7A2-7DB1-26C7A9494367}"/>
          </ac:spMkLst>
        </pc:spChg>
        <pc:spChg chg="add del mod modVis">
          <ac:chgData name="Yaroslav Zhydyk" userId="feca11449df7c5ed" providerId="LiveId" clId="{1F616E6B-9D49-446D-979D-3B324770BFF3}" dt="2022-11-11T16:14:50.416" v="463"/>
          <ac:spMkLst>
            <pc:docMk/>
            <pc:sldMk cId="3091902897" sldId="273"/>
            <ac:spMk id="3" creationId="{622B6F4A-C1CC-5DCD-1104-AFB866D53E82}"/>
          </ac:spMkLst>
        </pc:spChg>
        <pc:spChg chg="add del mod modVis">
          <ac:chgData name="Yaroslav Zhydyk" userId="feca11449df7c5ed" providerId="LiveId" clId="{1F616E6B-9D49-446D-979D-3B324770BFF3}" dt="2022-11-12T19:23:34" v="781"/>
          <ac:spMkLst>
            <pc:docMk/>
            <pc:sldMk cId="3091902897" sldId="273"/>
            <ac:spMk id="5" creationId="{DF853FDB-A937-A72D-DECF-2257FA5950AC}"/>
          </ac:spMkLst>
        </pc:spChg>
        <pc:spChg chg="add del mod modVis">
          <ac:chgData name="Yaroslav Zhydyk" userId="feca11449df7c5ed" providerId="LiveId" clId="{1F616E6B-9D49-446D-979D-3B324770BFF3}" dt="2022-11-12T19:23:34.730" v="826"/>
          <ac:spMkLst>
            <pc:docMk/>
            <pc:sldMk cId="3091902897" sldId="273"/>
            <ac:spMk id="7" creationId="{A49E7861-8068-DC82-9A4C-B48E8BA62C09}"/>
          </ac:spMkLst>
        </pc:spChg>
        <pc:spChg chg="add del mod modVis">
          <ac:chgData name="Yaroslav Zhydyk" userId="feca11449df7c5ed" providerId="LiveId" clId="{1F616E6B-9D49-446D-979D-3B324770BFF3}" dt="2022-11-12T19:23:35.611" v="871"/>
          <ac:spMkLst>
            <pc:docMk/>
            <pc:sldMk cId="3091902897" sldId="273"/>
            <ac:spMk id="8" creationId="{F60D8312-46E2-057C-1534-BC9A64D24D00}"/>
          </ac:spMkLst>
        </pc:spChg>
        <pc:spChg chg="add del mod modVis">
          <ac:chgData name="Yaroslav Zhydyk" userId="feca11449df7c5ed" providerId="LiveId" clId="{1F616E6B-9D49-446D-979D-3B324770BFF3}" dt="2022-11-12T19:23:36.308" v="916"/>
          <ac:spMkLst>
            <pc:docMk/>
            <pc:sldMk cId="3091902897" sldId="273"/>
            <ac:spMk id="9" creationId="{D12795A9-D6C3-2AA9-25B2-56E4FD580E3F}"/>
          </ac:spMkLst>
        </pc:spChg>
        <pc:spChg chg="add del mod modVis">
          <ac:chgData name="Yaroslav Zhydyk" userId="feca11449df7c5ed" providerId="LiveId" clId="{1F616E6B-9D49-446D-979D-3B324770BFF3}" dt="2022-11-12T19:23:37.639" v="963"/>
          <ac:spMkLst>
            <pc:docMk/>
            <pc:sldMk cId="3091902897" sldId="273"/>
            <ac:spMk id="10" creationId="{58304284-2D02-8FD5-5392-9D45836576C1}"/>
          </ac:spMkLst>
        </pc:spChg>
        <pc:spChg chg="mod">
          <ac:chgData name="Yaroslav Zhydyk" userId="feca11449df7c5ed" providerId="LiveId" clId="{1F616E6B-9D49-446D-979D-3B324770BFF3}" dt="2022-11-12T19:23:26.227" v="673" actId="20577"/>
          <ac:spMkLst>
            <pc:docMk/>
            <pc:sldMk cId="3091902897" sldId="273"/>
            <ac:spMk id="12" creationId="{B10013BE-2265-820D-1129-50C2F0BA4D62}"/>
          </ac:spMkLst>
        </pc:spChg>
        <pc:spChg chg="del">
          <ac:chgData name="Yaroslav Zhydyk" userId="feca11449df7c5ed" providerId="LiveId" clId="{1F616E6B-9D49-446D-979D-3B324770BFF3}" dt="2022-11-12T19:23:39.566" v="966" actId="478"/>
          <ac:spMkLst>
            <pc:docMk/>
            <pc:sldMk cId="3091902897" sldId="273"/>
            <ac:spMk id="19" creationId="{747610DE-946A-9AB9-BB63-ABF981E27F58}"/>
          </ac:spMkLst>
        </pc:spChg>
        <pc:spChg chg="del">
          <ac:chgData name="Yaroslav Zhydyk" userId="feca11449df7c5ed" providerId="LiveId" clId="{1F616E6B-9D49-446D-979D-3B324770BFF3}" dt="2022-11-12T19:23:39.566" v="966" actId="478"/>
          <ac:spMkLst>
            <pc:docMk/>
            <pc:sldMk cId="3091902897" sldId="273"/>
            <ac:spMk id="20" creationId="{D47A29C3-238F-B377-B011-B3EFAD3C3A2F}"/>
          </ac:spMkLst>
        </pc:spChg>
        <pc:spChg chg="del">
          <ac:chgData name="Yaroslav Zhydyk" userId="feca11449df7c5ed" providerId="LiveId" clId="{1F616E6B-9D49-446D-979D-3B324770BFF3}" dt="2022-11-12T19:23:39.566" v="966" actId="478"/>
          <ac:spMkLst>
            <pc:docMk/>
            <pc:sldMk cId="3091902897" sldId="273"/>
            <ac:spMk id="21" creationId="{BC1A5A79-BE41-8167-F23A-CB45BBB53FF8}"/>
          </ac:spMkLst>
        </pc:spChg>
        <pc:graphicFrameChg chg="mod">
          <ac:chgData name="Yaroslav Zhydyk" userId="feca11449df7c5ed" providerId="LiveId" clId="{1F616E6B-9D49-446D-979D-3B324770BFF3}" dt="2022-11-12T19:23:37.640" v="965"/>
          <ac:graphicFrameMkLst>
            <pc:docMk/>
            <pc:sldMk cId="3091902897" sldId="273"/>
            <ac:graphicFrameMk id="6" creationId="{ACE0404D-0142-C63B-3EDF-6758CE7CD22D}"/>
          </ac:graphicFrameMkLst>
        </pc:graphicFrameChg>
        <pc:picChg chg="add mod">
          <ac:chgData name="Yaroslav Zhydyk" userId="feca11449df7c5ed" providerId="LiveId" clId="{1F616E6B-9D49-446D-979D-3B324770BFF3}" dt="2022-11-11T16:17:17.125" v="528"/>
          <ac:picMkLst>
            <pc:docMk/>
            <pc:sldMk cId="3091902897" sldId="273"/>
            <ac:picMk id="4" creationId="{458904F3-005C-BEAD-DC79-B2AA9A294E0E}"/>
          </ac:picMkLst>
        </pc:picChg>
      </pc:sldChg>
      <pc:sldChg chg="addSp delSp modSp add mod">
        <pc:chgData name="Yaroslav Zhydyk" userId="feca11449df7c5ed" providerId="LiveId" clId="{1F616E6B-9D49-446D-979D-3B324770BFF3}" dt="2022-11-11T16:17:22.073" v="529"/>
        <pc:sldMkLst>
          <pc:docMk/>
          <pc:sldMk cId="1511992748" sldId="274"/>
        </pc:sldMkLst>
        <pc:spChg chg="mod">
          <ac:chgData name="Yaroslav Zhydyk" userId="feca11449df7c5ed" providerId="LiveId" clId="{1F616E6B-9D49-446D-979D-3B324770BFF3}" dt="2022-11-11T16:14:50.206" v="142" actId="948"/>
          <ac:spMkLst>
            <pc:docMk/>
            <pc:sldMk cId="1511992748" sldId="274"/>
            <ac:spMk id="2" creationId="{D40C8A77-BA7D-78B0-BFDA-37C7844FB6F1}"/>
          </ac:spMkLst>
        </pc:spChg>
        <pc:spChg chg="add del mod modVis">
          <ac:chgData name="Yaroslav Zhydyk" userId="feca11449df7c5ed" providerId="LiveId" clId="{1F616E6B-9D49-446D-979D-3B324770BFF3}" dt="2022-11-11T16:14:50.419" v="467"/>
          <ac:spMkLst>
            <pc:docMk/>
            <pc:sldMk cId="1511992748" sldId="274"/>
            <ac:spMk id="3" creationId="{DBE8C202-5515-BFF1-FF3C-5C20BDF6C799}"/>
          </ac:spMkLst>
        </pc:spChg>
        <pc:graphicFrameChg chg="mod">
          <ac:chgData name="Yaroslav Zhydyk" userId="feca11449df7c5ed" providerId="LiveId" clId="{1F616E6B-9D49-446D-979D-3B324770BFF3}" dt="2022-11-11T16:14:50.430" v="469"/>
          <ac:graphicFrameMkLst>
            <pc:docMk/>
            <pc:sldMk cId="1511992748" sldId="274"/>
            <ac:graphicFrameMk id="6" creationId="{B9C960BC-B0FA-B7FD-C872-02A2A1A376FE}"/>
          </ac:graphicFrameMkLst>
        </pc:graphicFrameChg>
        <pc:picChg chg="add mod">
          <ac:chgData name="Yaroslav Zhydyk" userId="feca11449df7c5ed" providerId="LiveId" clId="{1F616E6B-9D49-446D-979D-3B324770BFF3}" dt="2022-11-11T16:17:22.073" v="529"/>
          <ac:picMkLst>
            <pc:docMk/>
            <pc:sldMk cId="1511992748" sldId="274"/>
            <ac:picMk id="4" creationId="{27010919-C2D5-B135-8589-4B5E6CE6022B}"/>
          </ac:picMkLst>
        </pc:picChg>
      </pc:sldChg>
      <pc:sldChg chg="addSp delSp modSp add mod">
        <pc:chgData name="Yaroslav Zhydyk" userId="feca11449df7c5ed" providerId="LiveId" clId="{1F616E6B-9D49-446D-979D-3B324770BFF3}" dt="2022-11-11T16:17:38.696" v="535"/>
        <pc:sldMkLst>
          <pc:docMk/>
          <pc:sldMk cId="2232482467" sldId="282"/>
        </pc:sldMkLst>
        <pc:spChg chg="add del mod modVis">
          <ac:chgData name="Yaroslav Zhydyk" userId="feca11449df7c5ed" providerId="LiveId" clId="{1F616E6B-9D49-446D-979D-3B324770BFF3}" dt="2022-11-11T16:14:50.437" v="483"/>
          <ac:spMkLst>
            <pc:docMk/>
            <pc:sldMk cId="2232482467" sldId="282"/>
            <ac:spMk id="2" creationId="{3EF92DCC-AA35-D214-8C26-AE69461926EE}"/>
          </ac:spMkLst>
        </pc:spChg>
        <pc:spChg chg="mod">
          <ac:chgData name="Yaroslav Zhydyk" userId="feca11449df7c5ed" providerId="LiveId" clId="{1F616E6B-9D49-446D-979D-3B324770BFF3}" dt="2022-11-11T16:14:50.327" v="294" actId="948"/>
          <ac:spMkLst>
            <pc:docMk/>
            <pc:sldMk cId="2232482467" sldId="282"/>
            <ac:spMk id="4" creationId="{13F4CD59-AA6F-C9E4-BC42-3D85599E526E}"/>
          </ac:spMkLst>
        </pc:spChg>
        <pc:graphicFrameChg chg="mod">
          <ac:chgData name="Yaroslav Zhydyk" userId="feca11449df7c5ed" providerId="LiveId" clId="{1F616E6B-9D49-446D-979D-3B324770BFF3}" dt="2022-11-11T16:14:50.439" v="485"/>
          <ac:graphicFrameMkLst>
            <pc:docMk/>
            <pc:sldMk cId="2232482467" sldId="282"/>
            <ac:graphicFrameMk id="3" creationId="{D904055A-0CE8-7647-DDD9-D9159DE323DC}"/>
          </ac:graphicFrameMkLst>
        </pc:graphicFrameChg>
        <pc:picChg chg="add mod">
          <ac:chgData name="Yaroslav Zhydyk" userId="feca11449df7c5ed" providerId="LiveId" clId="{1F616E6B-9D49-446D-979D-3B324770BFF3}" dt="2022-11-11T16:17:38.696" v="535"/>
          <ac:picMkLst>
            <pc:docMk/>
            <pc:sldMk cId="2232482467" sldId="282"/>
            <ac:picMk id="5" creationId="{C96FED1B-A544-BEA4-ED25-BB032B249D60}"/>
          </ac:picMkLst>
        </pc:picChg>
      </pc:sldChg>
      <pc:sldChg chg="addSp delSp modSp add mod">
        <pc:chgData name="Yaroslav Zhydyk" userId="feca11449df7c5ed" providerId="LiveId" clId="{1F616E6B-9D49-446D-979D-3B324770BFF3}" dt="2022-11-12T19:22:24.148" v="623" actId="20577"/>
        <pc:sldMkLst>
          <pc:docMk/>
          <pc:sldMk cId="1505862790" sldId="288"/>
        </pc:sldMkLst>
        <pc:spChg chg="add del">
          <ac:chgData name="Yaroslav Zhydyk" userId="feca11449df7c5ed" providerId="LiveId" clId="{1F616E6B-9D49-446D-979D-3B324770BFF3}" dt="2022-11-12T19:21:13.383" v="539"/>
          <ac:spMkLst>
            <pc:docMk/>
            <pc:sldMk cId="1505862790" sldId="288"/>
            <ac:spMk id="2" creationId="{32F9A399-4AFA-72DE-C846-6E1A069B23D3}"/>
          </ac:spMkLst>
        </pc:spChg>
        <pc:spChg chg="mod">
          <ac:chgData name="Yaroslav Zhydyk" userId="feca11449df7c5ed" providerId="LiveId" clId="{1F616E6B-9D49-446D-979D-3B324770BFF3}" dt="2022-11-12T19:21:50.106" v="552" actId="12789"/>
          <ac:spMkLst>
            <pc:docMk/>
            <pc:sldMk cId="1505862790" sldId="288"/>
            <ac:spMk id="6" creationId="{3A59636D-0FD5-0808-FE54-7E8FA5086B8F}"/>
          </ac:spMkLst>
        </pc:spChg>
        <pc:spChg chg="mod">
          <ac:chgData name="Yaroslav Zhydyk" userId="feca11449df7c5ed" providerId="LiveId" clId="{1F616E6B-9D49-446D-979D-3B324770BFF3}" dt="2022-11-12T19:22:24.148" v="623" actId="20577"/>
          <ac:spMkLst>
            <pc:docMk/>
            <pc:sldMk cId="1505862790" sldId="288"/>
            <ac:spMk id="10" creationId="{33E0FB33-53DE-9ADC-D9A6-F1BEC46C4FAB}"/>
          </ac:spMkLst>
        </pc:spChg>
        <pc:spChg chg="mod">
          <ac:chgData name="Yaroslav Zhydyk" userId="feca11449df7c5ed" providerId="LiveId" clId="{1F616E6B-9D49-446D-979D-3B324770BFF3}" dt="2022-11-12T19:22:06.684" v="585" actId="20577"/>
          <ac:spMkLst>
            <pc:docMk/>
            <pc:sldMk cId="1505862790" sldId="288"/>
            <ac:spMk id="25" creationId="{8F09AD19-10C5-0867-B0FA-9C7673D37F89}"/>
          </ac:spMkLst>
        </pc:spChg>
        <pc:grpChg chg="del">
          <ac:chgData name="Yaroslav Zhydyk" userId="feca11449df7c5ed" providerId="LiveId" clId="{1F616E6B-9D49-446D-979D-3B324770BFF3}" dt="2022-11-12T19:21:40.824" v="548" actId="478"/>
          <ac:grpSpMkLst>
            <pc:docMk/>
            <pc:sldMk cId="1505862790" sldId="288"/>
            <ac:grpSpMk id="14" creationId="{0A076725-7CB4-ACA0-01FC-B85272741824}"/>
          </ac:grpSpMkLst>
        </pc:grpChg>
        <pc:picChg chg="add mod">
          <ac:chgData name="Yaroslav Zhydyk" userId="feca11449df7c5ed" providerId="LiveId" clId="{1F616E6B-9D49-446D-979D-3B324770BFF3}" dt="2022-11-12T19:21:50.106" v="552" actId="12789"/>
          <ac:picMkLst>
            <pc:docMk/>
            <pc:sldMk cId="1505862790" sldId="288"/>
            <ac:picMk id="7" creationId="{3269AB3C-3054-1B94-E71C-360A63C1A1B6}"/>
          </ac:picMkLst>
        </pc:picChg>
        <pc:picChg chg="add mod">
          <ac:chgData name="Yaroslav Zhydyk" userId="feca11449df7c5ed" providerId="LiveId" clId="{1F616E6B-9D49-446D-979D-3B324770BFF3}" dt="2022-11-11T16:17:03.916" v="526" actId="1036"/>
          <ac:picMkLst>
            <pc:docMk/>
            <pc:sldMk cId="1505862790" sldId="288"/>
            <ac:picMk id="1026" creationId="{E5244374-C99D-4BAF-952D-73411A8C2ED7}"/>
          </ac:picMkLst>
        </pc:picChg>
      </pc:sldChg>
      <pc:sldChg chg="addSp delSp modSp add mod">
        <pc:chgData name="Yaroslav Zhydyk" userId="feca11449df7c5ed" providerId="LiveId" clId="{1F616E6B-9D49-446D-979D-3B324770BFF3}" dt="2022-11-12T19:22:59.269" v="649" actId="403"/>
        <pc:sldMkLst>
          <pc:docMk/>
          <pc:sldMk cId="1380587856" sldId="289"/>
        </pc:sldMkLst>
        <pc:spChg chg="mod">
          <ac:chgData name="Yaroslav Zhydyk" userId="feca11449df7c5ed" providerId="LiveId" clId="{1F616E6B-9D49-446D-979D-3B324770BFF3}" dt="2022-11-11T16:14:50.108" v="66" actId="948"/>
          <ac:spMkLst>
            <pc:docMk/>
            <pc:sldMk cId="1380587856" sldId="289"/>
            <ac:spMk id="2" creationId="{4F684460-EB2B-1D5B-C0CA-87BA98ED81AF}"/>
          </ac:spMkLst>
        </pc:spChg>
        <pc:spChg chg="add del mod modVis">
          <ac:chgData name="Yaroslav Zhydyk" userId="feca11449df7c5ed" providerId="LiveId" clId="{1F616E6B-9D49-446D-979D-3B324770BFF3}" dt="2022-11-11T16:14:50.415" v="459"/>
          <ac:spMkLst>
            <pc:docMk/>
            <pc:sldMk cId="1380587856" sldId="289"/>
            <ac:spMk id="4" creationId="{B5FBA2CB-CA4A-098B-19F4-16BE5B9A7410}"/>
          </ac:spMkLst>
        </pc:spChg>
        <pc:spChg chg="mod">
          <ac:chgData name="Yaroslav Zhydyk" userId="feca11449df7c5ed" providerId="LiveId" clId="{1F616E6B-9D49-446D-979D-3B324770BFF3}" dt="2022-11-12T19:22:49.527" v="643" actId="403"/>
          <ac:spMkLst>
            <pc:docMk/>
            <pc:sldMk cId="1380587856" sldId="289"/>
            <ac:spMk id="23" creationId="{035F06DD-49BF-F8C4-5997-0056FFF185C1}"/>
          </ac:spMkLst>
        </pc:spChg>
        <pc:spChg chg="mod">
          <ac:chgData name="Yaroslav Zhydyk" userId="feca11449df7c5ed" providerId="LiveId" clId="{1F616E6B-9D49-446D-979D-3B324770BFF3}" dt="2022-11-12T19:22:57.129" v="647" actId="403"/>
          <ac:spMkLst>
            <pc:docMk/>
            <pc:sldMk cId="1380587856" sldId="289"/>
            <ac:spMk id="29" creationId="{3FE73425-F1F0-695A-6179-D80481A4AE12}"/>
          </ac:spMkLst>
        </pc:spChg>
        <pc:spChg chg="mod">
          <ac:chgData name="Yaroslav Zhydyk" userId="feca11449df7c5ed" providerId="LiveId" clId="{1F616E6B-9D49-446D-979D-3B324770BFF3}" dt="2022-11-12T19:22:59.269" v="649" actId="403"/>
          <ac:spMkLst>
            <pc:docMk/>
            <pc:sldMk cId="1380587856" sldId="289"/>
            <ac:spMk id="32" creationId="{2ADF7444-250A-3971-E547-2E7C23462EF6}"/>
          </ac:spMkLst>
        </pc:spChg>
        <pc:graphicFrameChg chg="mod">
          <ac:chgData name="Yaroslav Zhydyk" userId="feca11449df7c5ed" providerId="LiveId" clId="{1F616E6B-9D49-446D-979D-3B324770BFF3}" dt="2022-11-11T16:14:50.416" v="461"/>
          <ac:graphicFrameMkLst>
            <pc:docMk/>
            <pc:sldMk cId="1380587856" sldId="289"/>
            <ac:graphicFrameMk id="3" creationId="{D904055A-0CE8-7647-DDD9-D9159DE323DC}"/>
          </ac:graphicFrameMkLst>
        </pc:graphicFrameChg>
      </pc:sldChg>
      <pc:sldChg chg="addSp modSp add">
        <pc:chgData name="Yaroslav Zhydyk" userId="feca11449df7c5ed" providerId="LiveId" clId="{1F616E6B-9D49-446D-979D-3B324770BFF3}" dt="2022-11-11T16:17:23.741" v="530"/>
        <pc:sldMkLst>
          <pc:docMk/>
          <pc:sldMk cId="1377031171" sldId="290"/>
        </pc:sldMkLst>
        <pc:picChg chg="add mod">
          <ac:chgData name="Yaroslav Zhydyk" userId="feca11449df7c5ed" providerId="LiveId" clId="{1F616E6B-9D49-446D-979D-3B324770BFF3}" dt="2022-11-11T16:17:23.741" v="530"/>
          <ac:picMkLst>
            <pc:docMk/>
            <pc:sldMk cId="1377031171" sldId="290"/>
            <ac:picMk id="3" creationId="{B0AA3ED3-220C-8CE5-1A72-183BEFC9B392}"/>
          </ac:picMkLst>
        </pc:picChg>
      </pc:sldChg>
      <pc:sldChg chg="addSp delSp modSp add mod">
        <pc:chgData name="Yaroslav Zhydyk" userId="feca11449df7c5ed" providerId="LiveId" clId="{1F616E6B-9D49-446D-979D-3B324770BFF3}" dt="2022-11-11T16:14:50.444" v="493"/>
        <pc:sldMkLst>
          <pc:docMk/>
          <pc:sldMk cId="910575379" sldId="291"/>
        </pc:sldMkLst>
        <pc:spChg chg="mod">
          <ac:chgData name="Yaroslav Zhydyk" userId="feca11449df7c5ed" providerId="LiveId" clId="{1F616E6B-9D49-446D-979D-3B324770BFF3}" dt="2022-11-11T16:14:50.373" v="376" actId="948"/>
          <ac:spMkLst>
            <pc:docMk/>
            <pc:sldMk cId="910575379" sldId="291"/>
            <ac:spMk id="2" creationId="{0678B3F8-9855-9F7A-5141-EF78BE550FD1}"/>
          </ac:spMkLst>
        </pc:spChg>
        <pc:spChg chg="add del mod modVis">
          <ac:chgData name="Yaroslav Zhydyk" userId="feca11449df7c5ed" providerId="LiveId" clId="{1F616E6B-9D49-446D-979D-3B324770BFF3}" dt="2022-11-11T16:14:50.442" v="491"/>
          <ac:spMkLst>
            <pc:docMk/>
            <pc:sldMk cId="910575379" sldId="291"/>
            <ac:spMk id="3" creationId="{28F2C594-9A16-94A0-8131-EEDDB331D41D}"/>
          </ac:spMkLst>
        </pc:spChg>
        <pc:graphicFrameChg chg="mod">
          <ac:chgData name="Yaroslav Zhydyk" userId="feca11449df7c5ed" providerId="LiveId" clId="{1F616E6B-9D49-446D-979D-3B324770BFF3}" dt="2022-11-11T16:14:50.444" v="493"/>
          <ac:graphicFrameMkLst>
            <pc:docMk/>
            <pc:sldMk cId="910575379" sldId="291"/>
            <ac:graphicFrameMk id="6" creationId="{93B653CE-F36B-F172-D6FB-FDD8CEB8B4B1}"/>
          </ac:graphicFrameMkLst>
        </pc:graphicFrameChg>
      </pc:sldChg>
      <pc:sldChg chg="addSp delSp modSp add mod">
        <pc:chgData name="Yaroslav Zhydyk" userId="feca11449df7c5ed" providerId="LiveId" clId="{1F616E6B-9D49-446D-979D-3B324770BFF3}" dt="2022-11-11T16:17:33.722" v="533"/>
        <pc:sldMkLst>
          <pc:docMk/>
          <pc:sldMk cId="2101414528" sldId="292"/>
        </pc:sldMkLst>
        <pc:spChg chg="mod">
          <ac:chgData name="Yaroslav Zhydyk" userId="feca11449df7c5ed" providerId="LiveId" clId="{1F616E6B-9D49-446D-979D-3B324770BFF3}" dt="2022-11-11T16:14:50.273" v="218" actId="948"/>
          <ac:spMkLst>
            <pc:docMk/>
            <pc:sldMk cId="2101414528" sldId="292"/>
            <ac:spMk id="2" creationId="{0678B3F8-9855-9F7A-5141-EF78BE550FD1}"/>
          </ac:spMkLst>
        </pc:spChg>
        <pc:spChg chg="add del mod modVis">
          <ac:chgData name="Yaroslav Zhydyk" userId="feca11449df7c5ed" providerId="LiveId" clId="{1F616E6B-9D49-446D-979D-3B324770BFF3}" dt="2022-11-11T16:14:50.433" v="475"/>
          <ac:spMkLst>
            <pc:docMk/>
            <pc:sldMk cId="2101414528" sldId="292"/>
            <ac:spMk id="3" creationId="{7ED58402-D6AD-EEDF-9057-DFFC0988009C}"/>
          </ac:spMkLst>
        </pc:spChg>
        <pc:graphicFrameChg chg="mod">
          <ac:chgData name="Yaroslav Zhydyk" userId="feca11449df7c5ed" providerId="LiveId" clId="{1F616E6B-9D49-446D-979D-3B324770BFF3}" dt="2022-11-11T16:14:50.434" v="477"/>
          <ac:graphicFrameMkLst>
            <pc:docMk/>
            <pc:sldMk cId="2101414528" sldId="292"/>
            <ac:graphicFrameMk id="6" creationId="{93B653CE-F36B-F172-D6FB-FDD8CEB8B4B1}"/>
          </ac:graphicFrameMkLst>
        </pc:graphicFrameChg>
        <pc:picChg chg="add mod">
          <ac:chgData name="Yaroslav Zhydyk" userId="feca11449df7c5ed" providerId="LiveId" clId="{1F616E6B-9D49-446D-979D-3B324770BFF3}" dt="2022-11-11T16:17:33.722" v="533"/>
          <ac:picMkLst>
            <pc:docMk/>
            <pc:sldMk cId="2101414528" sldId="292"/>
            <ac:picMk id="4" creationId="{88D37DB3-F8A5-5B70-14C1-052BA994D472}"/>
          </ac:picMkLst>
        </pc:picChg>
      </pc:sldChg>
      <pc:sldChg chg="addSp delSp modSp add mod">
        <pc:chgData name="Yaroslav Zhydyk" userId="feca11449df7c5ed" providerId="LiveId" clId="{1F616E6B-9D49-446D-979D-3B324770BFF3}" dt="2022-11-11T16:17:44.949" v="536"/>
        <pc:sldMkLst>
          <pc:docMk/>
          <pc:sldMk cId="3114592789" sldId="299"/>
        </pc:sldMkLst>
        <pc:spChg chg="mod">
          <ac:chgData name="Yaroslav Zhydyk" userId="feca11449df7c5ed" providerId="LiveId" clId="{1F616E6B-9D49-446D-979D-3B324770BFF3}" dt="2022-11-11T16:14:50.303" v="256" actId="948"/>
          <ac:spMkLst>
            <pc:docMk/>
            <pc:sldMk cId="3114592789" sldId="299"/>
            <ac:spMk id="2" creationId="{0678B3F8-9855-9F7A-5141-EF78BE550FD1}"/>
          </ac:spMkLst>
        </pc:spChg>
        <pc:spChg chg="add del mod modVis">
          <ac:chgData name="Yaroslav Zhydyk" userId="feca11449df7c5ed" providerId="LiveId" clId="{1F616E6B-9D49-446D-979D-3B324770BFF3}" dt="2022-11-11T16:14:50.434" v="479"/>
          <ac:spMkLst>
            <pc:docMk/>
            <pc:sldMk cId="3114592789" sldId="299"/>
            <ac:spMk id="4" creationId="{7576966E-1AC9-2034-47FD-74B4E186F898}"/>
          </ac:spMkLst>
        </pc:spChg>
        <pc:graphicFrameChg chg="mod">
          <ac:chgData name="Yaroslav Zhydyk" userId="feca11449df7c5ed" providerId="LiveId" clId="{1F616E6B-9D49-446D-979D-3B324770BFF3}" dt="2022-11-11T16:14:50.437" v="481"/>
          <ac:graphicFrameMkLst>
            <pc:docMk/>
            <pc:sldMk cId="3114592789" sldId="299"/>
            <ac:graphicFrameMk id="6" creationId="{93B653CE-F36B-F172-D6FB-FDD8CEB8B4B1}"/>
          </ac:graphicFrameMkLst>
        </pc:graphicFrameChg>
        <pc:picChg chg="add mod">
          <ac:chgData name="Yaroslav Zhydyk" userId="feca11449df7c5ed" providerId="LiveId" clId="{1F616E6B-9D49-446D-979D-3B324770BFF3}" dt="2022-11-11T16:17:44.949" v="536"/>
          <ac:picMkLst>
            <pc:docMk/>
            <pc:sldMk cId="3114592789" sldId="299"/>
            <ac:picMk id="7" creationId="{7F1972C1-3937-DADA-69F3-E5C345355397}"/>
          </ac:picMkLst>
        </pc:picChg>
      </pc:sldChg>
      <pc:sldChg chg="addSp delSp modSp add mod">
        <pc:chgData name="Yaroslav Zhydyk" userId="feca11449df7c5ed" providerId="LiveId" clId="{1F616E6B-9D49-446D-979D-3B324770BFF3}" dt="2022-11-11T16:17:30.021" v="532"/>
        <pc:sldMkLst>
          <pc:docMk/>
          <pc:sldMk cId="2352281271" sldId="302"/>
        </pc:sldMkLst>
        <pc:spChg chg="mod">
          <ac:chgData name="Yaroslav Zhydyk" userId="feca11449df7c5ed" providerId="LiveId" clId="{1F616E6B-9D49-446D-979D-3B324770BFF3}" dt="2022-11-11T16:14:50.353" v="338" actId="948"/>
          <ac:spMkLst>
            <pc:docMk/>
            <pc:sldMk cId="2352281271" sldId="302"/>
            <ac:spMk id="2" creationId="{99138DFB-0C8C-BC5B-4D37-D23CC8103D1C}"/>
          </ac:spMkLst>
        </pc:spChg>
        <pc:spChg chg="add del mod modVis">
          <ac:chgData name="Yaroslav Zhydyk" userId="feca11449df7c5ed" providerId="LiveId" clId="{1F616E6B-9D49-446D-979D-3B324770BFF3}" dt="2022-11-11T16:14:50.440" v="487"/>
          <ac:spMkLst>
            <pc:docMk/>
            <pc:sldMk cId="2352281271" sldId="302"/>
            <ac:spMk id="3" creationId="{97E0B2EC-DC97-D40D-65B6-E71C0CA2F68E}"/>
          </ac:spMkLst>
        </pc:spChg>
        <pc:graphicFrameChg chg="mod">
          <ac:chgData name="Yaroslav Zhydyk" userId="feca11449df7c5ed" providerId="LiveId" clId="{1F616E6B-9D49-446D-979D-3B324770BFF3}" dt="2022-11-11T16:14:50.441" v="489"/>
          <ac:graphicFrameMkLst>
            <pc:docMk/>
            <pc:sldMk cId="2352281271" sldId="302"/>
            <ac:graphicFrameMk id="4" creationId="{A8B44F2E-9B47-3003-B4F2-387A09612DB5}"/>
          </ac:graphicFrameMkLst>
        </pc:graphicFrameChg>
        <pc:picChg chg="add mod">
          <ac:chgData name="Yaroslav Zhydyk" userId="feca11449df7c5ed" providerId="LiveId" clId="{1F616E6B-9D49-446D-979D-3B324770BFF3}" dt="2022-11-11T16:17:30.021" v="532"/>
          <ac:picMkLst>
            <pc:docMk/>
            <pc:sldMk cId="2352281271" sldId="302"/>
            <ac:picMk id="5" creationId="{0E9C6C41-D3F1-35CE-2FCD-025BDB23419A}"/>
          </ac:picMkLst>
        </pc:picChg>
      </pc:sldChg>
      <pc:sldMasterChg chg="delSldLayout">
        <pc:chgData name="Yaroslav Zhydyk" userId="feca11449df7c5ed" providerId="LiveId" clId="{1F616E6B-9D49-446D-979D-3B324770BFF3}" dt="2022-11-12T17:04:37.438" v="537" actId="47"/>
        <pc:sldMasterMkLst>
          <pc:docMk/>
          <pc:sldMasterMk cId="1709005174" sldId="2147483663"/>
        </pc:sldMasterMkLst>
        <pc:sldLayoutChg chg="del">
          <pc:chgData name="Yaroslav Zhydyk" userId="feca11449df7c5ed" providerId="LiveId" clId="{1F616E6B-9D49-446D-979D-3B324770BFF3}" dt="2022-11-11T15:51:24.300" v="8" actId="47"/>
          <pc:sldLayoutMkLst>
            <pc:docMk/>
            <pc:sldMasterMk cId="1709005174" sldId="2147483663"/>
            <pc:sldLayoutMk cId="615811165" sldId="2147483675"/>
          </pc:sldLayoutMkLst>
        </pc:sldLayoutChg>
        <pc:sldLayoutChg chg="del">
          <pc:chgData name="Yaroslav Zhydyk" userId="feca11449df7c5ed" providerId="LiveId" clId="{1F616E6B-9D49-446D-979D-3B324770BFF3}" dt="2022-11-12T17:04:37.438" v="537" actId="47"/>
          <pc:sldLayoutMkLst>
            <pc:docMk/>
            <pc:sldMasterMk cId="1709005174" sldId="2147483663"/>
            <pc:sldLayoutMk cId="3726520916" sldId="2147483679"/>
          </pc:sldLayoutMkLst>
        </pc:sldLayoutChg>
      </pc:sldMasterChg>
    </pc:docChg>
  </pc:docChgLst>
  <pc:docChgLst>
    <pc:chgData name="Yaroslav Zhydyk" userId="feca11449df7c5ed" providerId="LiveId" clId="{186FDB4A-D0D0-446A-9945-6468067BA58C}"/>
    <pc:docChg chg="undo custSel addSld modSld sldOrd modMainMaster replTag">
      <pc:chgData name="Yaroslav Zhydyk" userId="feca11449df7c5ed" providerId="LiveId" clId="{186FDB4A-D0D0-446A-9945-6468067BA58C}" dt="2022-10-29T14:24:47.840" v="1228" actId="408"/>
      <pc:docMkLst>
        <pc:docMk/>
      </pc:docMkLst>
      <pc:sldChg chg="addSp delSp modSp new add mod modClrScheme chgLayout">
        <pc:chgData name="Yaroslav Zhydyk" userId="feca11449df7c5ed" providerId="LiveId" clId="{186FDB4A-D0D0-446A-9945-6468067BA58C}" dt="2022-10-29T13:45:49.971" v="1165" actId="478"/>
        <pc:sldMkLst>
          <pc:docMk/>
          <pc:sldMk cId="3493935180" sldId="256"/>
        </pc:sldMkLst>
        <pc:spChg chg="del mod">
          <ac:chgData name="Yaroslav Zhydyk" userId="feca11449df7c5ed" providerId="LiveId" clId="{186FDB4A-D0D0-446A-9945-6468067BA58C}" dt="2022-10-29T10:41:54.484" v="77" actId="478"/>
          <ac:spMkLst>
            <pc:docMk/>
            <pc:sldMk cId="3493935180" sldId="256"/>
            <ac:spMk id="2" creationId="{41F9EE2C-F2ED-001D-75E5-AC67353D0F9D}"/>
          </ac:spMkLst>
        </pc:spChg>
        <pc:spChg chg="del mod">
          <ac:chgData name="Yaroslav Zhydyk" userId="feca11449df7c5ed" providerId="LiveId" clId="{186FDB4A-D0D0-446A-9945-6468067BA58C}" dt="2022-10-29T10:41:54.484" v="77" actId="478"/>
          <ac:spMkLst>
            <pc:docMk/>
            <pc:sldMk cId="3493935180" sldId="256"/>
            <ac:spMk id="3" creationId="{D05A5FD6-6539-815F-0A66-834A58A64635}"/>
          </ac:spMkLst>
        </pc:spChg>
        <pc:spChg chg="add mod or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5" creationId="{805F823C-4B4D-4EC8-15D7-D1C57874B9C0}"/>
          </ac:spMkLst>
        </pc:spChg>
        <pc:spChg chg="add mo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6" creationId="{2530C375-BD99-821B-60A5-6BD7DE5BF829}"/>
          </ac:spMkLst>
        </pc:spChg>
        <pc:spChg chg="add mo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7" creationId="{D6506A5C-8CAE-8044-28B8-28BF7DD3ECF7}"/>
          </ac:spMkLst>
        </pc:spChg>
        <pc:spChg chg="add mo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8" creationId="{7E37A0FC-BEA4-801F-F62E-69D85F1C345E}"/>
          </ac:spMkLst>
        </pc:spChg>
        <pc:spChg chg="add del mod">
          <ac:chgData name="Yaroslav Zhydyk" userId="feca11449df7c5ed" providerId="LiveId" clId="{186FDB4A-D0D0-446A-9945-6468067BA58C}" dt="2022-10-29T13:45:12.241" v="1136" actId="21"/>
          <ac:spMkLst>
            <pc:docMk/>
            <pc:sldMk cId="3493935180" sldId="256"/>
            <ac:spMk id="11" creationId="{374E608F-4A32-BE9A-1A2C-9662490FBD16}"/>
          </ac:spMkLst>
        </pc:spChg>
        <pc:graphicFrameChg chg="add mod ord modVis replST">
          <ac:chgData name="Yaroslav Zhydyk" userId="feca11449df7c5ed" providerId="LiveId" clId="{186FDB4A-D0D0-446A-9945-6468067BA58C}" dt="2022-10-29T12:58:01.262" v="466"/>
          <ac:graphicFrameMkLst>
            <pc:docMk/>
            <pc:sldMk cId="3493935180" sldId="256"/>
            <ac:graphicFrameMk id="4" creationId="{A576AE79-652B-18A8-31D9-28C2BC3EA100}"/>
          </ac:graphicFrameMkLst>
        </pc:graphicFrameChg>
        <pc:picChg chg="add del mod">
          <ac:chgData name="Yaroslav Zhydyk" userId="feca11449df7c5ed" providerId="LiveId" clId="{186FDB4A-D0D0-446A-9945-6468067BA58C}" dt="2022-10-29T13:42:10.540" v="1079" actId="21"/>
          <ac:picMkLst>
            <pc:docMk/>
            <pc:sldMk cId="3493935180" sldId="256"/>
            <ac:picMk id="3" creationId="{1E319040-E3B3-FDB9-6446-9C00523EAB8D}"/>
          </ac:picMkLst>
        </pc:picChg>
        <pc:picChg chg="add del">
          <ac:chgData name="Yaroslav Zhydyk" userId="feca11449df7c5ed" providerId="LiveId" clId="{186FDB4A-D0D0-446A-9945-6468067BA58C}" dt="2022-10-29T13:45:49.971" v="1165" actId="478"/>
          <ac:picMkLst>
            <pc:docMk/>
            <pc:sldMk cId="3493935180" sldId="256"/>
            <ac:picMk id="10" creationId="{1481159F-4219-04A0-53EB-8D7C0454431B}"/>
          </ac:picMkLst>
        </pc:picChg>
      </pc:sldChg>
      <pc:sldChg chg="modSp new add mod">
        <pc:chgData name="Yaroslav Zhydyk" userId="feca11449df7c5ed" providerId="LiveId" clId="{186FDB4A-D0D0-446A-9945-6468067BA58C}" dt="2022-10-29T12:58:00.690" v="420"/>
        <pc:sldMkLst>
          <pc:docMk/>
          <pc:sldMk cId="2207511441" sldId="257"/>
        </pc:sldMkLst>
        <pc:spChg chg="mod">
          <ac:chgData name="Yaroslav Zhydyk" userId="feca11449df7c5ed" providerId="LiveId" clId="{186FDB4A-D0D0-446A-9945-6468067BA58C}" dt="2022-10-29T12:58:00.690" v="420"/>
          <ac:spMkLst>
            <pc:docMk/>
            <pc:sldMk cId="2207511441" sldId="257"/>
            <ac:spMk id="2" creationId="{68D5F1BF-947A-0F44-F59A-88E76FEA875F}"/>
          </ac:spMkLst>
        </pc:spChg>
      </pc:sldChg>
      <pc:sldChg chg="addSp delSp modSp add mod ord">
        <pc:chgData name="Yaroslav Zhydyk" userId="feca11449df7c5ed" providerId="LiveId" clId="{186FDB4A-D0D0-446A-9945-6468067BA58C}" dt="2022-10-29T14:24:47.840" v="1228" actId="408"/>
        <pc:sldMkLst>
          <pc:docMk/>
          <pc:sldMk cId="428792147" sldId="258"/>
        </pc:sldMkLst>
        <pc:spChg chg="mod ord">
          <ac:chgData name="Yaroslav Zhydyk" userId="feca11449df7c5ed" providerId="LiveId" clId="{186FDB4A-D0D0-446A-9945-6468067BA58C}" dt="2022-10-29T14:23:55.999" v="1205" actId="207"/>
          <ac:spMkLst>
            <pc:docMk/>
            <pc:sldMk cId="428792147" sldId="258"/>
            <ac:spMk id="2" creationId="{68D5F1BF-947A-0F44-F59A-88E76FEA875F}"/>
          </ac:spMkLst>
        </pc:spChg>
        <pc:spChg chg="add del mod ord">
          <ac:chgData name="Yaroslav Zhydyk" userId="feca11449df7c5ed" providerId="LiveId" clId="{186FDB4A-D0D0-446A-9945-6468067BA58C}" dt="2022-10-29T14:23:51.720" v="1204" actId="478"/>
          <ac:spMkLst>
            <pc:docMk/>
            <pc:sldMk cId="428792147" sldId="258"/>
            <ac:spMk id="3" creationId="{8B346919-DAEE-F7EC-2BF0-7EB1A174D69C}"/>
          </ac:spMkLst>
        </pc:spChg>
        <pc:spChg chg="add mod">
          <ac:chgData name="Yaroslav Zhydyk" userId="feca11449df7c5ed" providerId="LiveId" clId="{186FDB4A-D0D0-446A-9945-6468067BA58C}" dt="2022-10-29T14:24:27.288" v="1220" actId="2711"/>
          <ac:spMkLst>
            <pc:docMk/>
            <pc:sldMk cId="428792147" sldId="258"/>
            <ac:spMk id="5" creationId="{D366CD11-E393-D3E5-DB17-3B9C346CEB77}"/>
          </ac:spMkLst>
        </pc:spChg>
        <pc:spChg chg="add mod">
          <ac:chgData name="Yaroslav Zhydyk" userId="feca11449df7c5ed" providerId="LiveId" clId="{186FDB4A-D0D0-446A-9945-6468067BA58C}" dt="2022-10-29T14:24:38.645" v="1225" actId="1076"/>
          <ac:spMkLst>
            <pc:docMk/>
            <pc:sldMk cId="428792147" sldId="258"/>
            <ac:spMk id="6" creationId="{DFAB1005-8D50-AF29-16E8-FA7B6ACCE6E2}"/>
          </ac:spMkLst>
        </pc:spChg>
        <pc:spChg chg="add mod">
          <ac:chgData name="Yaroslav Zhydyk" userId="feca11449df7c5ed" providerId="LiveId" clId="{186FDB4A-D0D0-446A-9945-6468067BA58C}" dt="2022-10-29T14:24:47.840" v="1228" actId="408"/>
          <ac:spMkLst>
            <pc:docMk/>
            <pc:sldMk cId="428792147" sldId="258"/>
            <ac:spMk id="7" creationId="{5AFFE72B-B4B5-0580-154F-C04392A07F3D}"/>
          </ac:spMkLst>
        </pc:spChg>
        <pc:spChg chg="add mod">
          <ac:chgData name="Yaroslav Zhydyk" userId="feca11449df7c5ed" providerId="LiveId" clId="{186FDB4A-D0D0-446A-9945-6468067BA58C}" dt="2022-10-29T14:24:47.840" v="1228" actId="408"/>
          <ac:spMkLst>
            <pc:docMk/>
            <pc:sldMk cId="428792147" sldId="258"/>
            <ac:spMk id="8" creationId="{027883F0-7EAA-0455-D502-C3339D5F9FA5}"/>
          </ac:spMkLst>
        </pc:spChg>
        <pc:graphicFrameChg chg="add mod ord modVis replST">
          <ac:chgData name="Yaroslav Zhydyk" userId="feca11449df7c5ed" providerId="LiveId" clId="{186FDB4A-D0D0-446A-9945-6468067BA58C}" dt="2022-10-29T14:23:32.785" v="1194"/>
          <ac:graphicFrameMkLst>
            <pc:docMk/>
            <pc:sldMk cId="428792147" sldId="258"/>
            <ac:graphicFrameMk id="4" creationId="{1B3E4F37-698F-423B-B473-5D927AB99B2E}"/>
          </ac:graphicFrameMkLst>
        </pc:graphicFrameChg>
      </pc:sldChg>
      <pc:sldMasterChg chg="modSp modSldLayout">
        <pc:chgData name="Yaroslav Zhydyk" userId="feca11449df7c5ed" providerId="LiveId" clId="{186FDB4A-D0D0-446A-9945-6468067BA58C}" dt="2022-10-29T10:41:51.829" v="2"/>
        <pc:sldMasterMkLst>
          <pc:docMk/>
          <pc:sldMasterMk cId="3795624097" sldId="2147483648"/>
        </pc:sldMasterMkLst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2" creationId="{EB7F4A28-C3F8-7BA6-0AAD-EC4CBFE57046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3" creationId="{F0F4E320-C360-C960-3537-F3D0024E5DC4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4" creationId="{A3532357-DEFA-43C3-CB9D-BBD282C4AB30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5" creationId="{CEECD19E-5B8F-6B14-830A-A4AC28FF0090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6" creationId="{C6178E6B-C0FE-D978-E6A7-492E4A134F1F}"/>
          </ac:spMkLst>
        </pc:sp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1664675532" sldId="2147483649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664675532" sldId="2147483649"/>
              <ac:spMk id="2" creationId="{25A43727-98C4-2194-E862-01B7FC578864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664675532" sldId="2147483649"/>
              <ac:spMk id="3" creationId="{ABAD685F-33C3-60A4-C5E0-FF2CD8E38D20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698038997" sldId="2147483651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698038997" sldId="2147483651"/>
              <ac:spMk id="2" creationId="{46AC5A00-C259-761F-3797-2AB1E739A5DE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698038997" sldId="2147483651"/>
              <ac:spMk id="3" creationId="{2499BDD0-E535-D395-E6DB-CDD9BFC76B8E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3461048897" sldId="2147483652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3461048897" sldId="2147483652"/>
              <ac:spMk id="3" creationId="{24D2B029-6E9A-0EB1-645F-1FCE725354E9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3461048897" sldId="2147483652"/>
              <ac:spMk id="4" creationId="{7F7ECFF9-2982-9C7A-EA33-8CED6F29E74C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115164135" sldId="2147483653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2" creationId="{CD87CB2C-BAF0-9A06-2C8D-4742BC5FD251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3" creationId="{5580C134-20CC-ECB6-69DD-1888F8643F82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4" creationId="{5D16D0F3-8DFF-F2E3-59F8-F35AB4BB6FCC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5" creationId="{BF80E65E-9F21-0994-103E-CB0E769C572B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6" creationId="{5BEAF1C2-376B-1AEB-5202-6A95820C15F4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139042274" sldId="2147483656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39042274" sldId="2147483656"/>
              <ac:spMk id="2" creationId="{3F6AA4A3-6895-48CE-D4E9-3C430BA73533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39042274" sldId="2147483656"/>
              <ac:spMk id="3" creationId="{A6D5605A-44AC-8A70-5960-9F18BF2B9556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39042274" sldId="2147483656"/>
              <ac:spMk id="4" creationId="{6BEA10A0-8205-4094-6362-2EEDD8376341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2051874453" sldId="2147483657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051874453" sldId="2147483657"/>
              <ac:spMk id="2" creationId="{5A288DEF-EB17-246D-EE37-B86099209F7D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051874453" sldId="2147483657"/>
              <ac:spMk id="3" creationId="{60BE2164-4F49-5539-00F5-33C302BA4588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051874453" sldId="2147483657"/>
              <ac:spMk id="4" creationId="{FEC75D08-24F3-B33F-15C9-902A470D8D34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2452645975" sldId="2147483659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452645975" sldId="2147483659"/>
              <ac:spMk id="2" creationId="{4BA0C6F9-4475-8900-3BA3-2C499FD959A2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452645975" sldId="2147483659"/>
              <ac:spMk id="3" creationId="{6884DD03-3035-D9C8-EF1F-E67290FBB022}"/>
            </ac:spMkLst>
          </pc:spChg>
        </pc:sldLayoutChg>
      </pc:sldMasterChg>
      <pc:sldMasterChg chg="addSp delSp modSp mod addSldLayout delSldLayout modSldLayout">
        <pc:chgData name="Yaroslav Zhydyk" userId="feca11449df7c5ed" providerId="LiveId" clId="{186FDB4A-D0D0-446A-9945-6468067BA58C}" dt="2022-10-29T12:58:00.690" v="420"/>
        <pc:sldMasterMkLst>
          <pc:docMk/>
          <pc:sldMasterMk cId="3463494952" sldId="2147483660"/>
        </pc:sldMasterMkLst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2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3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4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5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6" creationId="{00000000-0000-0000-0000-000000000000}"/>
          </ac:spMkLst>
        </pc:spChg>
        <pc:spChg chg="add del mod modVis">
          <ac:chgData name="Yaroslav Zhydyk" userId="feca11449df7c5ed" providerId="LiveId" clId="{186FDB4A-D0D0-446A-9945-6468067BA58C}" dt="2022-10-29T10:41:52.528" v="60"/>
          <ac:spMkLst>
            <pc:docMk/>
            <pc:sldMasterMk cId="3463494952" sldId="2147483660"/>
            <ac:spMk id="7" creationId="{46820A18-6A29-061F-C96F-0F1B4E866C50}"/>
          </ac:spMkLst>
        </pc:spChg>
        <pc:spChg chg="add del mod modVis">
          <ac:chgData name="Yaroslav Zhydyk" userId="feca11449df7c5ed" providerId="LiveId" clId="{186FDB4A-D0D0-446A-9945-6468067BA58C}" dt="2022-10-29T10:43:55.441" v="169"/>
          <ac:spMkLst>
            <pc:docMk/>
            <pc:sldMasterMk cId="3463494952" sldId="2147483660"/>
            <ac:spMk id="9" creationId="{9173D314-72BC-57BF-8577-622CACCFCF4F}"/>
          </ac:spMkLst>
        </pc:spChg>
        <pc:graphicFrameChg chg="add mod ord modVis replST">
          <ac:chgData name="Yaroslav Zhydyk" userId="feca11449df7c5ed" providerId="LiveId" clId="{186FDB4A-D0D0-446A-9945-6468067BA58C}" dt="2022-10-29T12:58:00.690" v="420"/>
          <ac:graphicFrameMkLst>
            <pc:docMk/>
            <pc:sldMasterMk cId="3463494952" sldId="2147483660"/>
            <ac:graphicFrameMk id="8" creationId="{5A62EAB4-D8CB-5A38-1441-CB67CADBF86E}"/>
          </ac:graphicFrameMkLst>
        </pc:graphicFrameChg>
        <pc:sldLayoutChg chg="addSp delSp modSp mod">
          <pc:chgData name="Yaroslav Zhydyk" userId="feca11449df7c5ed" providerId="LiveId" clId="{186FDB4A-D0D0-446A-9945-6468067BA58C}" dt="2022-10-29T12:58:00.690" v="420"/>
          <pc:sldLayoutMkLst>
            <pc:docMk/>
            <pc:sldMasterMk cId="3463494952" sldId="2147483660"/>
            <pc:sldLayoutMk cId="953478930" sldId="2147483661"/>
          </pc:sldLayoutMkLst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2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3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4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5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6" creationId="{00000000-0000-0000-0000-000000000000}"/>
            </ac:spMkLst>
          </pc:spChg>
          <pc:spChg chg="add del">
            <ac:chgData name="Yaroslav Zhydyk" userId="feca11449df7c5ed" providerId="LiveId" clId="{186FDB4A-D0D0-446A-9945-6468067BA58C}" dt="2022-10-29T10:43:29.638" v="125" actId="11529"/>
            <ac:spMkLst>
              <pc:docMk/>
              <pc:sldMasterMk cId="3463494952" sldId="2147483660"/>
              <pc:sldLayoutMk cId="953478930" sldId="2147483661"/>
              <ac:spMk id="8" creationId="{B746244C-38DC-6B5F-95D7-AEC64767881F}"/>
            </ac:spMkLst>
          </pc:spChg>
          <pc:spChg chg="add mod">
            <ac:chgData name="Yaroslav Zhydyk" userId="feca11449df7c5ed" providerId="LiveId" clId="{186FDB4A-D0D0-446A-9945-6468067BA58C}" dt="2022-10-29T12:58:00.690" v="420"/>
            <ac:spMkLst>
              <pc:docMk/>
              <pc:sldMasterMk cId="3463494952" sldId="2147483660"/>
              <pc:sldLayoutMk cId="953478930" sldId="2147483661"/>
              <ac:spMk id="9" creationId="{F8B3AA32-AEC3-491C-164F-DE89B0FDC30B}"/>
            </ac:spMkLst>
          </pc:spChg>
          <pc:graphicFrameChg chg="add mod modVis replST">
            <ac:chgData name="Yaroslav Zhydyk" userId="feca11449df7c5ed" providerId="LiveId" clId="{186FDB4A-D0D0-446A-9945-6468067BA58C}" dt="2022-10-29T12:58:00.690" v="420"/>
            <ac:graphicFrameMkLst>
              <pc:docMk/>
              <pc:sldMasterMk cId="3463494952" sldId="2147483660"/>
              <pc:sldLayoutMk cId="953478930" sldId="2147483661"/>
              <ac:graphicFrameMk id="7" creationId="{43D7CE9C-21BD-5C8E-A9FE-87992F5FAB4B}"/>
            </ac:graphicFrameMkLst>
          </pc:graphicFrameChg>
        </pc:sldLayoutChg>
        <pc:sldLayoutChg chg="modSp add mod modTransition">
          <pc:chgData name="Yaroslav Zhydyk" userId="feca11449df7c5ed" providerId="LiveId" clId="{186FDB4A-D0D0-446A-9945-6468067BA58C}" dt="2022-10-29T12:58:00.690" v="420"/>
          <pc:sldLayoutMkLst>
            <pc:docMk/>
            <pc:sldMasterMk cId="3463494952" sldId="2147483660"/>
            <pc:sldLayoutMk cId="392322286" sldId="2147483662"/>
          </pc:sldLayoutMkLst>
          <pc:spChg chg="mod">
            <ac:chgData name="Yaroslav Zhydyk" userId="feca11449df7c5ed" providerId="LiveId" clId="{186FDB4A-D0D0-446A-9945-6468067BA58C}" dt="2022-10-29T12:58:00.690" v="420"/>
            <ac:spMkLst>
              <pc:docMk/>
              <pc:sldMasterMk cId="3463494952" sldId="2147483660"/>
              <pc:sldLayoutMk cId="392322286" sldId="2147483662"/>
              <ac:spMk id="9" creationId="{F8B3AA32-AEC3-491C-164F-DE89B0FDC30B}"/>
            </ac:spMkLst>
          </pc:spChg>
          <pc:graphicFrameChg chg="mod">
            <ac:chgData name="Yaroslav Zhydyk" userId="feca11449df7c5ed" providerId="LiveId" clId="{186FDB4A-D0D0-446A-9945-6468067BA58C}" dt="2022-10-29T12:58:00.690" v="420"/>
            <ac:graphicFrameMkLst>
              <pc:docMk/>
              <pc:sldMasterMk cId="3463494952" sldId="2147483660"/>
              <pc:sldLayoutMk cId="392322286" sldId="2147483662"/>
              <ac:graphicFrameMk id="7" creationId="{43D7CE9C-21BD-5C8E-A9FE-87992F5FAB4B}"/>
            </ac:graphicFrameMkLst>
          </pc:graphicFrameChg>
        </pc:sldLayoutChg>
        <pc:sldLayoutChg chg="modSp del">
          <pc:chgData name="Yaroslav Zhydyk" userId="feca11449df7c5ed" providerId="LiveId" clId="{186FDB4A-D0D0-446A-9945-6468067BA58C}" dt="2022-10-29T10:42:08.822" v="84" actId="2696"/>
          <pc:sldLayoutMkLst>
            <pc:docMk/>
            <pc:sldMasterMk cId="3463494952" sldId="2147483660"/>
            <pc:sldLayoutMk cId="4279675931" sldId="2147483662"/>
          </pc:sldLayoutMkLst>
        </pc:sldLayoutChg>
        <pc:sldLayoutChg chg="modSp del">
          <pc:chgData name="Yaroslav Zhydyk" userId="feca11449df7c5ed" providerId="LiveId" clId="{186FDB4A-D0D0-446A-9945-6468067BA58C}" dt="2022-10-29T10:42:09.154" v="86" actId="2696"/>
          <pc:sldLayoutMkLst>
            <pc:docMk/>
            <pc:sldMasterMk cId="3463494952" sldId="2147483660"/>
            <pc:sldLayoutMk cId="443708802" sldId="2147483663"/>
          </pc:sldLayoutMkLst>
        </pc:sldLayoutChg>
        <pc:sldLayoutChg chg="modSp del">
          <pc:chgData name="Yaroslav Zhydyk" userId="feca11449df7c5ed" providerId="LiveId" clId="{186FDB4A-D0D0-446A-9945-6468067BA58C}" dt="2022-10-29T10:42:09.523" v="88" actId="2696"/>
          <pc:sldLayoutMkLst>
            <pc:docMk/>
            <pc:sldMasterMk cId="3463494952" sldId="2147483660"/>
            <pc:sldLayoutMk cId="3031831387" sldId="2147483664"/>
          </pc:sldLayoutMkLst>
        </pc:sldLayoutChg>
        <pc:sldLayoutChg chg="modSp del">
          <pc:chgData name="Yaroslav Zhydyk" userId="feca11449df7c5ed" providerId="LiveId" clId="{186FDB4A-D0D0-446A-9945-6468067BA58C}" dt="2022-10-29T10:42:09.855" v="90" actId="2696"/>
          <pc:sldLayoutMkLst>
            <pc:docMk/>
            <pc:sldMasterMk cId="3463494952" sldId="2147483660"/>
            <pc:sldLayoutMk cId="3039250677" sldId="2147483665"/>
          </pc:sldLayoutMkLst>
        </pc:sldLayoutChg>
        <pc:sldLayoutChg chg="modSp del">
          <pc:chgData name="Yaroslav Zhydyk" userId="feca11449df7c5ed" providerId="LiveId" clId="{186FDB4A-D0D0-446A-9945-6468067BA58C}" dt="2022-10-29T10:42:10.205" v="92" actId="2696"/>
          <pc:sldLayoutMkLst>
            <pc:docMk/>
            <pc:sldMasterMk cId="3463494952" sldId="2147483660"/>
            <pc:sldLayoutMk cId="961075186" sldId="2147483666"/>
          </pc:sldLayoutMkLst>
        </pc:sldLayoutChg>
        <pc:sldLayoutChg chg="modSp del">
          <pc:chgData name="Yaroslav Zhydyk" userId="feca11449df7c5ed" providerId="LiveId" clId="{186FDB4A-D0D0-446A-9945-6468067BA58C}" dt="2022-10-29T10:42:10.556" v="94" actId="2696"/>
          <pc:sldLayoutMkLst>
            <pc:docMk/>
            <pc:sldMasterMk cId="3463494952" sldId="2147483660"/>
            <pc:sldLayoutMk cId="3772621187" sldId="2147483667"/>
          </pc:sldLayoutMkLst>
        </pc:sldLayoutChg>
        <pc:sldLayoutChg chg="modSp del">
          <pc:chgData name="Yaroslav Zhydyk" userId="feca11449df7c5ed" providerId="LiveId" clId="{186FDB4A-D0D0-446A-9945-6468067BA58C}" dt="2022-10-29T10:42:10.973" v="96" actId="2696"/>
          <pc:sldLayoutMkLst>
            <pc:docMk/>
            <pc:sldMasterMk cId="3463494952" sldId="2147483660"/>
            <pc:sldLayoutMk cId="707943317" sldId="2147483668"/>
          </pc:sldLayoutMkLst>
        </pc:sldLayoutChg>
        <pc:sldLayoutChg chg="modSp del">
          <pc:chgData name="Yaroslav Zhydyk" userId="feca11449df7c5ed" providerId="LiveId" clId="{186FDB4A-D0D0-446A-9945-6468067BA58C}" dt="2022-10-29T10:42:11.237" v="98" actId="2696"/>
          <pc:sldLayoutMkLst>
            <pc:docMk/>
            <pc:sldMasterMk cId="3463494952" sldId="2147483660"/>
            <pc:sldLayoutMk cId="633934013" sldId="2147483669"/>
          </pc:sldLayoutMkLst>
        </pc:sldLayoutChg>
        <pc:sldLayoutChg chg="modSp del">
          <pc:chgData name="Yaroslav Zhydyk" userId="feca11449df7c5ed" providerId="LiveId" clId="{186FDB4A-D0D0-446A-9945-6468067BA58C}" dt="2022-10-29T10:42:11.687" v="100" actId="2696"/>
          <pc:sldLayoutMkLst>
            <pc:docMk/>
            <pc:sldMasterMk cId="3463494952" sldId="2147483660"/>
            <pc:sldLayoutMk cId="2137727618" sldId="2147483670"/>
          </pc:sldLayoutMkLst>
        </pc:sldLayoutChg>
        <pc:sldLayoutChg chg="modSp del">
          <pc:chgData name="Yaroslav Zhydyk" userId="feca11449df7c5ed" providerId="LiveId" clId="{186FDB4A-D0D0-446A-9945-6468067BA58C}" dt="2022-10-29T10:42:12.104" v="102" actId="2696"/>
          <pc:sldLayoutMkLst>
            <pc:docMk/>
            <pc:sldMasterMk cId="3463494952" sldId="2147483660"/>
            <pc:sldLayoutMk cId="2142407464" sldId="2147483671"/>
          </pc:sldLayoutMkLst>
        </pc:sldLayoutChg>
      </pc:sldMasterChg>
      <pc:sldMasterChg chg="addSp delSp modSp mod delSldLayout modSldLayout">
        <pc:chgData name="Yaroslav Zhydyk" userId="feca11449df7c5ed" providerId="LiveId" clId="{186FDB4A-D0D0-446A-9945-6468067BA58C}" dt="2022-10-29T13:45:44.006" v="1164"/>
        <pc:sldMasterMkLst>
          <pc:docMk/>
          <pc:sldMasterMk cId="1709005174" sldId="2147483663"/>
        </pc:sldMasterMkLst>
        <pc:spChg chg="mod">
          <ac:chgData name="Yaroslav Zhydyk" userId="feca11449df7c5ed" providerId="LiveId" clId="{186FDB4A-D0D0-446A-9945-6468067BA58C}" dt="2022-10-29T12:58:18.809" v="848" actId="948"/>
          <ac:spMkLst>
            <pc:docMk/>
            <pc:sldMasterMk cId="1709005174" sldId="2147483663"/>
            <ac:spMk id="2" creationId="{00000000-0000-0000-0000-000000000000}"/>
          </ac:spMkLst>
        </pc:spChg>
        <pc:spChg chg="add del mod modVis">
          <ac:chgData name="Yaroslav Zhydyk" userId="feca11449df7c5ed" providerId="LiveId" clId="{186FDB4A-D0D0-446A-9945-6468067BA58C}" dt="2022-10-29T12:58:01.248" v="462"/>
          <ac:spMkLst>
            <pc:docMk/>
            <pc:sldMasterMk cId="1709005174" sldId="2147483663"/>
            <ac:spMk id="8" creationId="{17429368-CB58-581F-E84A-065422ADEF27}"/>
          </ac:spMkLst>
        </pc:spChg>
        <pc:spChg chg="add del mod modVis">
          <ac:chgData name="Yaroslav Zhydyk" userId="feca11449df7c5ed" providerId="LiveId" clId="{186FDB4A-D0D0-446A-9945-6468067BA58C}" dt="2022-10-29T12:58:19.034" v="1069"/>
          <ac:spMkLst>
            <pc:docMk/>
            <pc:sldMasterMk cId="1709005174" sldId="2147483663"/>
            <ac:spMk id="9" creationId="{8067F82A-86E0-D525-2F04-39D75B74371E}"/>
          </ac:spMkLst>
        </pc:spChg>
        <pc:graphicFrameChg chg="add mod">
          <ac:chgData name="Yaroslav Zhydyk" userId="feca11449df7c5ed" providerId="LiveId" clId="{186FDB4A-D0D0-446A-9945-6468067BA58C}" dt="2022-10-29T12:58:19.036" v="1071"/>
          <ac:graphicFrameMkLst>
            <pc:docMk/>
            <pc:sldMasterMk cId="1709005174" sldId="2147483663"/>
            <ac:graphicFrameMk id="7" creationId="{571FC2F1-1292-F928-E633-E5BBFA8A46D0}"/>
          </ac:graphicFrameMkLst>
        </pc:graphicFrameChg>
        <pc:sldLayoutChg chg="addSp delSp modSp del mod">
          <pc:chgData name="Yaroslav Zhydyk" userId="feca11449df7c5ed" providerId="LiveId" clId="{186FDB4A-D0D0-446A-9945-6468067BA58C}" dt="2022-10-29T13:45:38.658" v="1143" actId="2696"/>
          <pc:sldLayoutMkLst>
            <pc:docMk/>
            <pc:sldMasterMk cId="1709005174" sldId="2147483663"/>
            <pc:sldLayoutMk cId="2477718418" sldId="2147483664"/>
          </pc:sldLayoutMkLst>
          <pc:spChg chg="mod">
            <ac:chgData name="Yaroslav Zhydyk" userId="feca11449df7c5ed" providerId="LiveId" clId="{186FDB4A-D0D0-446A-9945-6468067BA58C}" dt="2022-10-29T12:58:18.675" v="657" actId="948"/>
            <ac:spMkLst>
              <pc:docMk/>
              <pc:sldMasterMk cId="1709005174" sldId="2147483663"/>
              <pc:sldLayoutMk cId="2477718418" sldId="2147483664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45" v="979"/>
            <ac:spMkLst>
              <pc:docMk/>
              <pc:sldMasterMk cId="1709005174" sldId="2147483663"/>
              <pc:sldLayoutMk cId="2477718418" sldId="2147483664"/>
              <ac:spMk id="7" creationId="{AD5C3228-E62E-0E72-5CC8-5F8E2FB334B9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61" v="995"/>
            <ac:graphicFrameMkLst>
              <pc:docMk/>
              <pc:sldMasterMk cId="1709005174" sldId="2147483663"/>
              <pc:sldLayoutMk cId="2477718418" sldId="2147483664"/>
              <ac:graphicFrameMk id="8" creationId="{28511520-8A2A-9F7B-00DF-48F9C0B7F3FD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027" v="1145" actId="2696"/>
          <pc:sldLayoutMkLst>
            <pc:docMk/>
            <pc:sldMasterMk cId="1709005174" sldId="2147483663"/>
            <pc:sldLayoutMk cId="3449835006" sldId="2147483665"/>
          </pc:sldLayoutMkLst>
          <pc:spChg chg="mod">
            <ac:chgData name="Yaroslav Zhydyk" userId="feca11449df7c5ed" providerId="LiveId" clId="{186FDB4A-D0D0-446A-9945-6468067BA58C}" dt="2022-10-29T12:58:18.786" v="810" actId="948"/>
            <ac:spMkLst>
              <pc:docMk/>
              <pc:sldMasterMk cId="1709005174" sldId="2147483663"/>
              <pc:sldLayoutMk cId="3449835006" sldId="2147483665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9.014" v="1051"/>
            <ac:spMkLst>
              <pc:docMk/>
              <pc:sldMasterMk cId="1709005174" sldId="2147483663"/>
              <pc:sldLayoutMk cId="3449835006" sldId="2147483665"/>
              <ac:spMk id="7" creationId="{8ECC325E-CE25-27B3-C5AF-AD80271EC3D0}"/>
            </ac:spMkLst>
          </pc:spChg>
          <pc:graphicFrameChg chg="add mod ord modVis replST">
            <ac:chgData name="Yaroslav Zhydyk" userId="feca11449df7c5ed" providerId="LiveId" clId="{186FDB4A-D0D0-446A-9945-6468067BA58C}" dt="2022-10-29T12:58:19.033" v="1067"/>
            <ac:graphicFrameMkLst>
              <pc:docMk/>
              <pc:sldMasterMk cId="1709005174" sldId="2147483663"/>
              <pc:sldLayoutMk cId="3449835006" sldId="2147483665"/>
              <ac:graphicFrameMk id="8" creationId="{874F45DC-C0BC-B16D-9658-ED5E8DB47965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359" v="1147" actId="2696"/>
          <pc:sldLayoutMkLst>
            <pc:docMk/>
            <pc:sldMasterMk cId="1709005174" sldId="2147483663"/>
            <pc:sldLayoutMk cId="952725367" sldId="2147483666"/>
          </pc:sldLayoutMkLst>
          <pc:spChg chg="mod">
            <ac:chgData name="Yaroslav Zhydyk" userId="feca11449df7c5ed" providerId="LiveId" clId="{186FDB4A-D0D0-446A-9945-6468067BA58C}" dt="2022-10-29T12:58:18.506" v="467" actId="948"/>
            <ac:spMkLst>
              <pc:docMk/>
              <pc:sldMasterMk cId="1709005174" sldId="2147483663"/>
              <pc:sldLayoutMk cId="952725367" sldId="2147483666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835" v="889"/>
            <ac:spMkLst>
              <pc:docMk/>
              <pc:sldMasterMk cId="1709005174" sldId="2147483663"/>
              <pc:sldLayoutMk cId="952725367" sldId="2147483666"/>
              <ac:spMk id="7" creationId="{99F8E19C-1A46-345D-F86A-028853F7DD49}"/>
            </ac:spMkLst>
          </pc:spChg>
          <pc:graphicFrameChg chg="add mod ord modVis replST">
            <ac:chgData name="Yaroslav Zhydyk" userId="feca11449df7c5ed" providerId="LiveId" clId="{186FDB4A-D0D0-446A-9945-6468067BA58C}" dt="2022-10-29T12:58:18.880" v="905"/>
            <ac:graphicFrameMkLst>
              <pc:docMk/>
              <pc:sldMasterMk cId="1709005174" sldId="2147483663"/>
              <pc:sldLayoutMk cId="952725367" sldId="2147483666"/>
              <ac:graphicFrameMk id="8" creationId="{D8984B61-2C3C-CB0B-90AB-FE97A9839F7F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676" v="1149" actId="2696"/>
          <pc:sldLayoutMkLst>
            <pc:docMk/>
            <pc:sldMasterMk cId="1709005174" sldId="2147483663"/>
            <pc:sldLayoutMk cId="2205209650" sldId="2147483667"/>
          </pc:sldLayoutMkLst>
          <pc:spChg chg="mod">
            <ac:chgData name="Yaroslav Zhydyk" userId="feca11449df7c5ed" providerId="LiveId" clId="{186FDB4A-D0D0-446A-9945-6468067BA58C}" dt="2022-10-29T12:58:18.563" v="505" actId="948"/>
            <ac:spMkLst>
              <pc:docMk/>
              <pc:sldMasterMk cId="1709005174" sldId="2147483663"/>
              <pc:sldLayoutMk cId="2205209650" sldId="2147483667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881" v="907"/>
            <ac:spMkLst>
              <pc:docMk/>
              <pc:sldMasterMk cId="1709005174" sldId="2147483663"/>
              <pc:sldLayoutMk cId="2205209650" sldId="2147483667"/>
              <ac:spMk id="8" creationId="{72EDA9A0-5E90-34B7-CA2A-1C981346B644}"/>
            </ac:spMkLst>
          </pc:spChg>
          <pc:graphicFrameChg chg="add mod ord modVis replST">
            <ac:chgData name="Yaroslav Zhydyk" userId="feca11449df7c5ed" providerId="LiveId" clId="{186FDB4A-D0D0-446A-9945-6468067BA58C}" dt="2022-10-29T12:58:18.895" v="923"/>
            <ac:graphicFrameMkLst>
              <pc:docMk/>
              <pc:sldMasterMk cId="1709005174" sldId="2147483663"/>
              <pc:sldLayoutMk cId="2205209650" sldId="2147483667"/>
              <ac:graphicFrameMk id="9" creationId="{BD4C8398-1844-B957-6F8E-B275E4D3C21A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977" v="1151" actId="2696"/>
          <pc:sldLayoutMkLst>
            <pc:docMk/>
            <pc:sldMasterMk cId="1709005174" sldId="2147483663"/>
            <pc:sldLayoutMk cId="3409368535" sldId="2147483668"/>
          </pc:sldLayoutMkLst>
          <pc:spChg chg="mod">
            <ac:chgData name="Yaroslav Zhydyk" userId="feca11449df7c5ed" providerId="LiveId" clId="{186FDB4A-D0D0-446A-9945-6468067BA58C}" dt="2022-10-29T12:58:18.625" v="581" actId="948"/>
            <ac:spMkLst>
              <pc:docMk/>
              <pc:sldMasterMk cId="1709005174" sldId="2147483663"/>
              <pc:sldLayoutMk cId="3409368535" sldId="2147483668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16" v="943"/>
            <ac:spMkLst>
              <pc:docMk/>
              <pc:sldMasterMk cId="1709005174" sldId="2147483663"/>
              <pc:sldLayoutMk cId="3409368535" sldId="2147483668"/>
              <ac:spMk id="10" creationId="{7E5D028C-0354-46FD-4B01-92E33CA4F2CF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29" v="959"/>
            <ac:graphicFrameMkLst>
              <pc:docMk/>
              <pc:sldMasterMk cId="1709005174" sldId="2147483663"/>
              <pc:sldLayoutMk cId="3409368535" sldId="2147483668"/>
              <ac:graphicFrameMk id="11" creationId="{1EB6ACD9-0F22-DAFA-B0D4-EDB991C1B34B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0.277" v="1153" actId="2696"/>
          <pc:sldLayoutMkLst>
            <pc:docMk/>
            <pc:sldMasterMk cId="1709005174" sldId="2147483663"/>
            <pc:sldLayoutMk cId="2592754754" sldId="2147483669"/>
          </pc:sldLayoutMkLst>
          <pc:spChg chg="mod">
            <ac:chgData name="Yaroslav Zhydyk" userId="feca11449df7c5ed" providerId="LiveId" clId="{186FDB4A-D0D0-446A-9945-6468067BA58C}" dt="2022-10-29T12:58:18.705" v="695" actId="948"/>
            <ac:spMkLst>
              <pc:docMk/>
              <pc:sldMasterMk cId="1709005174" sldId="2147483663"/>
              <pc:sldLayoutMk cId="2592754754" sldId="2147483669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62" v="997"/>
            <ac:spMkLst>
              <pc:docMk/>
              <pc:sldMasterMk cId="1709005174" sldId="2147483663"/>
              <pc:sldLayoutMk cId="2592754754" sldId="2147483669"/>
              <ac:spMk id="6" creationId="{EE33D337-1C03-133E-6E61-A3AE9DC180D1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82" v="1013"/>
            <ac:graphicFrameMkLst>
              <pc:docMk/>
              <pc:sldMasterMk cId="1709005174" sldId="2147483663"/>
              <pc:sldLayoutMk cId="2592754754" sldId="2147483669"/>
              <ac:graphicFrameMk id="7" creationId="{9EF35F49-00BA-D75D-6BAB-6480E9FFE6F0}"/>
            </ac:graphicFrameMkLst>
          </pc:graphicFrameChg>
        </pc:sldLayoutChg>
        <pc:sldLayoutChg chg="modSp del">
          <pc:chgData name="Yaroslav Zhydyk" userId="feca11449df7c5ed" providerId="LiveId" clId="{186FDB4A-D0D0-446A-9945-6468067BA58C}" dt="2022-10-29T13:45:40.593" v="1155" actId="2696"/>
          <pc:sldLayoutMkLst>
            <pc:docMk/>
            <pc:sldMasterMk cId="1709005174" sldId="2147483663"/>
            <pc:sldLayoutMk cId="1489045633" sldId="2147483670"/>
          </pc:sldLayoutMkLst>
        </pc:sldLayoutChg>
        <pc:sldLayoutChg chg="addSp delSp modSp del mod">
          <pc:chgData name="Yaroslav Zhydyk" userId="feca11449df7c5ed" providerId="LiveId" clId="{186FDB4A-D0D0-446A-9945-6468067BA58C}" dt="2022-10-29T13:45:40.892" v="1157" actId="2696"/>
          <pc:sldLayoutMkLst>
            <pc:docMk/>
            <pc:sldMasterMk cId="1709005174" sldId="2147483663"/>
            <pc:sldLayoutMk cId="3473504790" sldId="2147483671"/>
          </pc:sldLayoutMkLst>
          <pc:spChg chg="mod">
            <ac:chgData name="Yaroslav Zhydyk" userId="feca11449df7c5ed" providerId="LiveId" clId="{186FDB4A-D0D0-446A-9945-6468067BA58C}" dt="2022-10-29T12:58:18.729" v="733" actId="948"/>
            <ac:spMkLst>
              <pc:docMk/>
              <pc:sldMasterMk cId="1709005174" sldId="2147483663"/>
              <pc:sldLayoutMk cId="3473504790" sldId="2147483671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83" v="1015"/>
            <ac:spMkLst>
              <pc:docMk/>
              <pc:sldMasterMk cId="1709005174" sldId="2147483663"/>
              <pc:sldLayoutMk cId="3473504790" sldId="2147483671"/>
              <ac:spMk id="8" creationId="{E7C3E8D5-DF13-5E73-CB06-889DC7476DE0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98" v="1031"/>
            <ac:graphicFrameMkLst>
              <pc:docMk/>
              <pc:sldMasterMk cId="1709005174" sldId="2147483663"/>
              <pc:sldLayoutMk cId="3473504790" sldId="2147483671"/>
              <ac:graphicFrameMk id="9" creationId="{2A58AE98-2E72-7165-D006-8275DC408277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1.275" v="1159" actId="2696"/>
          <pc:sldLayoutMkLst>
            <pc:docMk/>
            <pc:sldMasterMk cId="1709005174" sldId="2147483663"/>
            <pc:sldLayoutMk cId="2243056961" sldId="2147483672"/>
          </pc:sldLayoutMkLst>
          <pc:spChg chg="mod">
            <ac:chgData name="Yaroslav Zhydyk" userId="feca11449df7c5ed" providerId="LiveId" clId="{186FDB4A-D0D0-446A-9945-6468067BA58C}" dt="2022-10-29T12:58:18.589" v="543" actId="948"/>
            <ac:spMkLst>
              <pc:docMk/>
              <pc:sldMasterMk cId="1709005174" sldId="2147483663"/>
              <pc:sldLayoutMk cId="2243056961" sldId="2147483672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896" v="925"/>
            <ac:spMkLst>
              <pc:docMk/>
              <pc:sldMasterMk cId="1709005174" sldId="2147483663"/>
              <pc:sldLayoutMk cId="2243056961" sldId="2147483672"/>
              <ac:spMk id="8" creationId="{5F4E4EF7-7EEF-C747-F2BE-91F7E88B461F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16" v="941"/>
            <ac:graphicFrameMkLst>
              <pc:docMk/>
              <pc:sldMasterMk cId="1709005174" sldId="2147483663"/>
              <pc:sldLayoutMk cId="2243056961" sldId="2147483672"/>
              <ac:graphicFrameMk id="9" creationId="{1229197A-D411-83EE-EDE0-B3A612859CD9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1.645" v="1161" actId="2696"/>
          <pc:sldLayoutMkLst>
            <pc:docMk/>
            <pc:sldMasterMk cId="1709005174" sldId="2147483663"/>
            <pc:sldLayoutMk cId="1699327558" sldId="2147483673"/>
          </pc:sldLayoutMkLst>
          <pc:spChg chg="mod">
            <ac:chgData name="Yaroslav Zhydyk" userId="feca11449df7c5ed" providerId="LiveId" clId="{186FDB4A-D0D0-446A-9945-6468067BA58C}" dt="2022-10-29T12:58:18.650" v="619" actId="948"/>
            <ac:spMkLst>
              <pc:docMk/>
              <pc:sldMasterMk cId="1709005174" sldId="2147483663"/>
              <pc:sldLayoutMk cId="1699327558" sldId="2147483673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30" v="961"/>
            <ac:spMkLst>
              <pc:docMk/>
              <pc:sldMasterMk cId="1709005174" sldId="2147483663"/>
              <pc:sldLayoutMk cId="1699327558" sldId="2147483673"/>
              <ac:spMk id="7" creationId="{8F2FD826-69E9-203A-1E40-B760574102F6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45" v="977"/>
            <ac:graphicFrameMkLst>
              <pc:docMk/>
              <pc:sldMasterMk cId="1709005174" sldId="2147483663"/>
              <pc:sldLayoutMk cId="1699327558" sldId="2147483673"/>
              <ac:graphicFrameMk id="8" creationId="{1838FF33-46CC-627B-2A2A-252B9A5E1ECC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2.162" v="1163" actId="2696"/>
          <pc:sldLayoutMkLst>
            <pc:docMk/>
            <pc:sldMasterMk cId="1709005174" sldId="2147483663"/>
            <pc:sldLayoutMk cId="2777954138" sldId="2147483674"/>
          </pc:sldLayoutMkLst>
          <pc:spChg chg="mod">
            <ac:chgData name="Yaroslav Zhydyk" userId="feca11449df7c5ed" providerId="LiveId" clId="{186FDB4A-D0D0-446A-9945-6468067BA58C}" dt="2022-10-29T12:58:18.756" v="771" actId="948"/>
            <ac:spMkLst>
              <pc:docMk/>
              <pc:sldMasterMk cId="1709005174" sldId="2147483663"/>
              <pc:sldLayoutMk cId="2777954138" sldId="2147483674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99" v="1033"/>
            <ac:spMkLst>
              <pc:docMk/>
              <pc:sldMasterMk cId="1709005174" sldId="2147483663"/>
              <pc:sldLayoutMk cId="2777954138" sldId="2147483674"/>
              <ac:spMk id="7" creationId="{78D419A1-D40B-829D-BC6B-329AA616921D}"/>
            </ac:spMkLst>
          </pc:spChg>
          <pc:graphicFrameChg chg="add mod ord modVis replST">
            <ac:chgData name="Yaroslav Zhydyk" userId="feca11449df7c5ed" providerId="LiveId" clId="{186FDB4A-D0D0-446A-9945-6468067BA58C}" dt="2022-10-29T12:58:19.013" v="1049"/>
            <ac:graphicFrameMkLst>
              <pc:docMk/>
              <pc:sldMasterMk cId="1709005174" sldId="2147483663"/>
              <pc:sldLayoutMk cId="2777954138" sldId="2147483674"/>
              <ac:graphicFrameMk id="8" creationId="{D5FE33DF-67E1-958F-53B8-ED8739D009B6}"/>
            </ac:graphicFrameMkLst>
          </pc:graphicFrameChg>
        </pc:sldLayoutChg>
        <pc:sldLayoutChg chg="addSp delSp modSp mod">
          <pc:chgData name="Yaroslav Zhydyk" userId="feca11449df7c5ed" providerId="LiveId" clId="{186FDB4A-D0D0-446A-9945-6468067BA58C}" dt="2022-10-29T13:45:29.451" v="1141" actId="2085"/>
          <pc:sldLayoutMkLst>
            <pc:docMk/>
            <pc:sldMasterMk cId="1709005174" sldId="2147483663"/>
            <pc:sldLayoutMk cId="615811165" sldId="2147483675"/>
          </pc:sldLayoutMkLst>
          <pc:spChg chg="add mod">
            <ac:chgData name="Yaroslav Zhydyk" userId="feca11449df7c5ed" providerId="LiveId" clId="{186FDB4A-D0D0-446A-9945-6468067BA58C}" dt="2022-10-29T13:45:29.451" v="1141" actId="2085"/>
            <ac:spMkLst>
              <pc:docMk/>
              <pc:sldMasterMk cId="1709005174" sldId="2147483663"/>
              <pc:sldLayoutMk cId="615811165" sldId="2147483675"/>
              <ac:spMk id="3" creationId="{2739835D-2FB8-2BC0-BB79-BF537C48E4C8}"/>
            </ac:spMkLst>
          </pc:spChg>
          <pc:graphicFrameChg chg="mod">
            <ac:chgData name="Yaroslav Zhydyk" userId="feca11449df7c5ed" providerId="LiveId" clId="{186FDB4A-D0D0-446A-9945-6468067BA58C}" dt="2022-10-29T12:58:19.039" v="1075"/>
            <ac:graphicFrameMkLst>
              <pc:docMk/>
              <pc:sldMasterMk cId="1709005174" sldId="2147483663"/>
              <pc:sldLayoutMk cId="615811165" sldId="2147483675"/>
              <ac:graphicFrameMk id="7" creationId="{43D7CE9C-21BD-5C8E-A9FE-87992F5FAB4B}"/>
            </ac:graphicFrameMkLst>
          </pc:graphicFrameChg>
          <pc:picChg chg="add del mod">
            <ac:chgData name="Yaroslav Zhydyk" userId="feca11449df7c5ed" providerId="LiveId" clId="{186FDB4A-D0D0-446A-9945-6468067BA58C}" dt="2022-10-29T13:42:39.956" v="1085" actId="478"/>
            <ac:picMkLst>
              <pc:docMk/>
              <pc:sldMasterMk cId="1709005174" sldId="2147483663"/>
              <pc:sldLayoutMk cId="615811165" sldId="2147483675"/>
              <ac:picMk id="2" creationId="{24FA9423-714E-575E-6EF0-AC88BAA63A41}"/>
            </ac:picMkLst>
          </pc:picChg>
        </pc:sldLayoutChg>
        <pc:sldLayoutChg chg="addSp modSp mod">
          <pc:chgData name="Yaroslav Zhydyk" userId="feca11449df7c5ed" providerId="LiveId" clId="{186FDB4A-D0D0-446A-9945-6468067BA58C}" dt="2022-10-29T13:45:44.006" v="1164"/>
          <pc:sldLayoutMkLst>
            <pc:docMk/>
            <pc:sldMasterMk cId="1709005174" sldId="2147483663"/>
            <pc:sldLayoutMk cId="3612299126" sldId="2147483676"/>
          </pc:sldLayoutMkLst>
          <pc:spChg chg="add mod">
            <ac:chgData name="Yaroslav Zhydyk" userId="feca11449df7c5ed" providerId="LiveId" clId="{186FDB4A-D0D0-446A-9945-6468067BA58C}" dt="2022-10-29T13:45:44.006" v="1164"/>
            <ac:spMkLst>
              <pc:docMk/>
              <pc:sldMasterMk cId="1709005174" sldId="2147483663"/>
              <pc:sldLayoutMk cId="3612299126" sldId="2147483676"/>
              <ac:spMk id="2" creationId="{061A4290-5CB4-0293-4DCE-B1C4BA484A1E}"/>
            </ac:spMkLst>
          </pc:spChg>
          <pc:graphicFrameChg chg="mod">
            <ac:chgData name="Yaroslav Zhydyk" userId="feca11449df7c5ed" providerId="LiveId" clId="{186FDB4A-D0D0-446A-9945-6468067BA58C}" dt="2022-10-29T12:58:19.038" v="1073"/>
            <ac:graphicFrameMkLst>
              <pc:docMk/>
              <pc:sldMasterMk cId="1709005174" sldId="2147483663"/>
              <pc:sldLayoutMk cId="3612299126" sldId="2147483676"/>
              <ac:graphicFrameMk id="7" creationId="{43D7CE9C-21BD-5C8E-A9FE-87992F5FAB4B}"/>
            </ac:graphicFrameMkLst>
          </pc:graphicFrameChg>
        </pc:sldLayoutChg>
      </pc:sldMasterChg>
      <pc:sldMasterChg chg="addSp delSp modSp mod">
        <pc:chgData name="Yaroslav Zhydyk" userId="feca11449df7c5ed" providerId="LiveId" clId="{186FDB4A-D0D0-446A-9945-6468067BA58C}" dt="2022-10-29T12:57:35.180" v="417"/>
        <pc:sldMasterMkLst>
          <pc:docMk/>
          <pc:sldMasterMk cId="4053188614" sldId="2147483663"/>
        </pc:sldMasterMkLst>
        <pc:spChg chg="mod">
          <ac:chgData name="Yaroslav Zhydyk" userId="feca11449df7c5ed" providerId="LiveId" clId="{186FDB4A-D0D0-446A-9945-6468067BA58C}" dt="2022-10-29T12:57:35.180" v="417"/>
          <ac:spMkLst>
            <pc:docMk/>
            <pc:sldMasterMk cId="4053188614" sldId="2147483663"/>
            <ac:spMk id="2" creationId="{00000000-0000-0000-0000-000000000000}"/>
          </ac:spMkLst>
        </pc:spChg>
        <pc:spChg chg="add del mod modVis">
          <ac:chgData name="Yaroslav Zhydyk" userId="feca11449df7c5ed" providerId="LiveId" clId="{186FDB4A-D0D0-446A-9945-6468067BA58C}" dt="2022-10-29T12:57:35.180" v="417"/>
          <ac:spMkLst>
            <pc:docMk/>
            <pc:sldMasterMk cId="4053188614" sldId="2147483663"/>
            <ac:spMk id="8" creationId="{0433F8DC-D269-9EA9-7465-96AAB88C0591}"/>
          </ac:spMkLst>
        </pc:spChg>
        <pc:graphicFrameChg chg="mod">
          <ac:chgData name="Yaroslav Zhydyk" userId="feca11449df7c5ed" providerId="LiveId" clId="{186FDB4A-D0D0-446A-9945-6468067BA58C}" dt="2022-10-29T12:57:35.180" v="417"/>
          <ac:graphicFrameMkLst>
            <pc:docMk/>
            <pc:sldMasterMk cId="4053188614" sldId="2147483663"/>
            <ac:graphicFrameMk id="7" creationId="{BE629A9F-C26E-5F2C-A905-820C847EB149}"/>
          </ac:graphicFrameMkLst>
        </pc:graphicFrameChg>
      </pc:sldMaster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6T05:39:02.012"/>
    </inkml:context>
    <inkml:brush xml:id="br0">
      <inkml:brushProperty name="width" value="0.05" units="cm"/>
      <inkml:brushProperty name="height" value="0.05" units="cm"/>
      <inkml:brushProperty name="color" value="#00A0D7"/>
    </inkml:brush>
  </inkml:definitions>
  <inkml:trace contextRef="#ctx0" brushRef="#br0">10339 1 24575,'-12'10'0,"1"1"0,-1-1 0,-1-1 0,0 0 0,0-1 0,-19 8 0,12-5 0,-1 1 0,-19 15 0,-48 45 0,8-6 0,-173 108 0,168-129 0,-3-5 0,-1-3 0,-168 44 0,-292 33 0,-29-23 0,-1079 29 0,935-119 0,-550 8 0,4 60 0,556 25 0,15 70 0,535-113 0,3 7 0,3 7 0,-243 139 0,326-158 0,2 4 0,-119 107 0,-95 148 0,220-229 0,-108 164 0,155-212-1365,12-20-546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6:11:17.522"/>
    </inkml:context>
    <inkml:brush xml:id="br0">
      <inkml:brushProperty name="width" value="0.05" units="cm"/>
      <inkml:brushProperty name="height" value="0.05" units="cm"/>
      <inkml:brushProperty name="color" value="#EFB400"/>
    </inkml:brush>
  </inkml:definitions>
  <inkml:trace contextRef="#ctx0" brushRef="#br0">95 1 24575,'0'7'0,"-1"-1"0,0 1 0,0 0 0,0 0 0,-1 0 0,0 0 0,0-1 0,-1 1 0,0-1 0,0 0 0,0 0 0,-1 0 0,0 0 0,-5 6 0,-11 9 0,-5 6 0,23-25 0,1 0 0,0 0 0,0 0 0,0 0 0,0 0 0,0 0 0,1 0 0,-1 0 0,1 0 0,-1 0 0,1 0 0,0 0 0,-1 0 0,1 3 0,1-4 0,-1 0 0,1 0 0,-1 0 0,1 0 0,-1 0 0,1 0 0,-1-1 0,1 1 0,0 0 0,-1 0 0,1-1 0,0 1 0,0 0 0,0-1 0,0 1 0,0 0 0,21 11 0,-12-6 0,-3-2 0,-3-1 0,0-1 0,0 1 0,0-1 0,1 0 0,5 2 0,16 12 0,-29-18 0,1 0 0,0-1 0,-1 1 0,1-1 0,0 0 0,1 0 0,-3-4 0,-1-1 0,2 4 0,1 1 0,0-1 0,-1 0 0,2 1 0,-1-1 0,0 0 0,1 0 0,0-1 0,0 1 0,0 0 0,0 0 0,1 0 0,-1-1 0,1-6 0,0 8 0,0 0 0,1 0 0,-1 0 0,0 0 0,1 0 0,-1 0 0,1 0 0,0 0 0,0 0 0,1 0 0,-1 0 0,0 1 0,3-4 0,9-17 0,-11 36 0,0 0 0,-1 0 0,0 1 0,-2 17 0,2 19 0,-1-46 0,1 11 0,-3-11 0,-5-9 0,1-3 0,0 0 0,1 0 0,-7-13 0,7 11 0,0 1 0,-9-12 0,32 15-1365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6:11:17.523"/>
    </inkml:context>
    <inkml:brush xml:id="br0">
      <inkml:brushProperty name="width" value="0.05" units="cm"/>
      <inkml:brushProperty name="height" value="0.05" units="cm"/>
      <inkml:brushProperty name="color" value="#EFB400"/>
    </inkml:brush>
  </inkml:definitions>
  <inkml:trace contextRef="#ctx0" brushRef="#br0">0 9 24575,'24'-5'0,"-22"5"0,0-1 0,-1 0 0,1 1 0,0-1 0,0 1 0,0 0 0,0-1 0,0 1 0,0 0 0,0 0 0,0 0 0,-1 1 0,1-1 0,0 0 0,0 1 0,0-1 0,0 1 0,0 0 0,-1-1 0,1 1 0,0 0 0,-1 0 0,1 0 0,2 2 0,15 16 0,-17-15 0,-13-13 0,9 7 0,0 1 0,0-1 0,0 0 0,0 1 0,-1 0 0,1-1 0,0 1 0,-1 0 0,1 0 0,-1 0 0,1 0 0,-1 1 0,0-1 0,1 1 0,-1 0 0,1 0 0,-1-1 0,0 2 0,1-1 0,-1 0 0,-4 1 0,7-1 0,0 1 0,0-1 0,0 0 0,0 0 0,0 1 0,0-1 0,0 0 0,0 0 0,0 0 0,0 1 0,0-1 0,0 0 0,0 0 0,0 0 0,0 1 0,0-1 0,0 0 0,0 0 0,0 0 0,0 1 0,0-1 0,0 0 0,1 0 0,-1 0 0,0 1 0,0-1 0,0 0 0,0 0 0,0 0 0,1 0 0,-1 0 0,0 1 0,0-1 0,0 0 0,0 0 0,1 0 0,-1 0 0,0 0 0,0 0 0,0 0 0,1 0 0,14 11 0,-6-3 0,15 10 0,-21-16 0,1 0 0,-1 0 0,0 0 0,0 1 0,0-1 0,-1 1 0,1 0 0,3 5 0,1 2 0,-1-1 0,0 1 0,0-1 0,7 21 0,-9-22 0,0 1 0,9 15 0,-9-18 0,0 0 0,0 1 0,-1 0 0,0 0 0,4 13 0,2 34-1365,-8-47-546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4:52.716"/>
    </inkml:context>
    <inkml:brush xml:id="br0">
      <inkml:brushProperty name="width" value="0.05" units="cm"/>
      <inkml:brushProperty name="height" value="0.05" units="cm"/>
      <inkml:brushProperty name="color" value="#33CCFF"/>
    </inkml:brush>
  </inkml:definitions>
  <inkml:trace contextRef="#ctx0" brushRef="#br0">1 613 24575,'0'0'0,"0"0"0,0 0 0,6-15 0,2 4 0,0 0 0,0 1 0,1 0 0,1 1 0,0 0 0,0 0 0,0 1 0,13-7 0,97-51 0,-120 66 0,71-32 0,1 3 0,116-29 0,160-19 0,-318 71 0,6-1 0,618-118 0,6 35 0,-527 79 0,1 7 0,0 5 0,0 6 0,-1 6 0,152 35 0,503 173-1365,-684-186-546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4:55.911"/>
    </inkml:context>
    <inkml:brush xml:id="br0">
      <inkml:brushProperty name="width" value="0.05" units="cm"/>
      <inkml:brushProperty name="height" value="0.05" units="cm"/>
      <inkml:brushProperty name="color" value="#33CCFF"/>
    </inkml:brush>
  </inkml:definitions>
  <inkml:trace contextRef="#ctx0" brushRef="#br0">1 668 24575,'43'-7'0,"-16"1"0,328-44 0,-255 41 0,160 5 0,-201 10 0,-1 4 0,0 1 0,111 38 0,-38-9 0,-126-39 0,2 2 0,1-1 0,0 0 0,0-1 0,16 1 0,-23-2 0,0 0 0,0 0 0,0 0 0,0 0 0,0-1 0,0 1 0,-1 0 0,1-1 0,0 1 0,0 0 0,0-1 0,0 1 0,0-1 0,0 1 0,-1-1 0,1 0 0,0 1 0,0-1 0,0-1 0,0 1 0,-1 0 0,1-1 0,-1 1 0,0 0 0,1-1 0,-1 1 0,0 0 0,0-1 0,0 1 0,0-1 0,0 1 0,0 0 0,0-1 0,-1 1 0,1 0 0,0-1 0,-1 1 0,0-2 0,-9-20 0,0 1 0,-1 0 0,-1 1 0,-1 0 0,-28-34 0,7 17 0,-67-61 0,-222-147 19,186 148-1403,87 61-5442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5:02.137"/>
    </inkml:context>
    <inkml:brush xml:id="br0">
      <inkml:brushProperty name="width" value="0.05" units="cm"/>
      <inkml:brushProperty name="height" value="0.05" units="cm"/>
      <inkml:brushProperty name="color" value="#33CCFF"/>
    </inkml:brush>
  </inkml:definitions>
  <inkml:trace contextRef="#ctx0" brushRef="#br0">0 0 24575,'0'0'0,"9"9"0,39 36-1,2-1 0,2-3 1,2-3-1,1-1 0,2-4 0,91 41 0,-65-41 4,2-3 0,1-4 0,1-4 1,108 13-1,-52-19-11,281-5 0,131-60-93,213-90-407,-7-39 80,-521 120-428,-13 4-5436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5:03.074"/>
    </inkml:context>
    <inkml:brush xml:id="br0">
      <inkml:brushProperty name="width" value="0.05" units="cm"/>
      <inkml:brushProperty name="height" value="0.05" units="cm"/>
      <inkml:brushProperty name="color" value="#33CCFF"/>
    </inkml:brush>
  </inkml:definitions>
  <inkml:trace contextRef="#ctx0" brushRef="#br0">1 104 24575,'14'0'0,"490"-39"0,-357 22 0,-64 8 0,431-29 0,-487 37 0,-1 2 0,1 1 0,-1 1 0,49 13 0,-67-14 0,0 0 0,-1 1 0,0 0 0,1 1 0,-1 0 0,0 0 0,-1 0 0,1 1 0,-1 0 0,0 0 0,0 0 0,-1 1 0,1 0 0,-1 0 0,-1 1 0,1-1 0,-1 1 0,0 0 0,0 0 0,3 12 0,-3-3 0,0 1 0,-1-1 0,-1 1 0,-1 0 0,0 0 0,-1 0 0,-1 0 0,0 0 0,-2 0 0,0-1 0,0 1 0,-2-1 0,-12 32 0,-1-9 0,0-1 0,-3 0 0,-1-1 0,-38 47 0,10-24 30,-3-3 0,-1-1 0,-125 94 0,-207 107-1515,273-190-5341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5:10.255"/>
    </inkml:context>
    <inkml:brush xml:id="br0">
      <inkml:brushProperty name="width" value="0.05" units="cm"/>
      <inkml:brushProperty name="height" value="0.05" units="cm"/>
      <inkml:brushProperty name="color" value="#33CCFF"/>
    </inkml:brush>
  </inkml:definitions>
  <inkml:trace contextRef="#ctx0" brushRef="#br0">0 704 24575,'18'-15'0,"0"1"0,0 0 0,2 2 0,-1 1 0,43-18 0,-37 17 0,121-52 0,3 7 0,250-61 0,328-29 0,-567 118 0,546-90 28,6 57-566,-571 62-144,262 37-1,-172 3-5633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5:11.186"/>
    </inkml:context>
    <inkml:brush xml:id="br0">
      <inkml:brushProperty name="width" value="0.05" units="cm"/>
      <inkml:brushProperty name="height" value="0.05" units="cm"/>
      <inkml:brushProperty name="color" value="#33CCFF"/>
    </inkml:brush>
  </inkml:definitions>
  <inkml:trace contextRef="#ctx0" brushRef="#br0">1 0 24575,'0'0'0,"11"8"0,23 12 0,1-3 0,1-1 0,55 18 0,-8-4 0,190 89 0,-215-89 0,-2 2 0,84 63 0,-129-86 0,0 0 0,0 1 0,-1 0 0,0 1 0,0 0 0,10 18 0,-16-23 0,-1 0 0,0 0 0,-1 0 0,1 1 0,-1-1 0,0 0 0,-1 1 0,0 0 0,0-1 0,0 1 0,-1 0 0,0 0 0,0-1 0,-1 1 0,1 0 0,-3 7 0,-3 3 0,0 0 0,-1 0 0,-1 0 0,0-1 0,-1 0 0,-1 0 0,-1-1 0,0-1 0,-1 0 0,0 0 0,-21 16 0,-2 0 0,-1-2 0,-1-1 0,-60 31 0,25-22-455,-2-3 0,-132 39 0,115-46-637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6T05:39:02.723"/>
    </inkml:context>
    <inkml:brush xml:id="br0">
      <inkml:brushProperty name="width" value="0.05" units="cm"/>
      <inkml:brushProperty name="height" value="0.05" units="cm"/>
      <inkml:brushProperty name="color" value="#00A0D7"/>
    </inkml:brush>
  </inkml:definitions>
  <inkml:trace contextRef="#ctx0" brushRef="#br0">319 1 24575,'-2'20'0,"-1"1"0,0-1 0,-1 0 0,-14 37 0,4-11 0,-160 479 0,87-276 0,83-239 0,2-5 0,1-1 0,-1 0 0,1 1 0,0-1 0,0 0 0,0 1 0,0 6 0,2-10 0,-1 0 0,0 0 0,0-1 0,0 1 0,0 0 0,1-1 0,-1 1 0,0-1 0,1 1 0,-1 0 0,0-1 0,1 1 0,-1-1 0,1 1 0,-1-1 0,1 1 0,-1-1 0,1 1 0,-1-1 0,1 1 0,0-1 0,1 1 0,0 0 0,0-1 0,-1 1 0,1-1 0,0 0 0,0 0 0,0 1 0,0-1 0,0-1 0,0 1 0,2 0 0,81-14 0,135-40 0,-169 40 0,153-44-1365,-163 46-546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6T05:39:09.303"/>
    </inkml:context>
    <inkml:brush xml:id="br0">
      <inkml:brushProperty name="width" value="0.05" units="cm"/>
      <inkml:brushProperty name="height" value="0.05" units="cm"/>
      <inkml:brushProperty name="color" value="#00A0D7"/>
    </inkml:brush>
  </inkml:definitions>
  <inkml:trace contextRef="#ctx0" brushRef="#br0">0 1 24575,'2'12'0,"0"1"0,0-1 0,1 0 0,1 1 0,0-1 0,9 18 0,-1-1 0,-1-2 0,0-1 0,2 0 0,1-1 0,1 0 0,1-1 0,1-1 0,1-1 0,1 0 0,1-2 0,1 0 0,1-1 0,47 31 0,-10-14 0,2-2 0,1-3 0,1-3 0,119 35 0,-48-28 0,192 25 0,227-8 0,-27-5 0,-269-14 0,406 63 0,-565-77 0,187 62 0,-238-63 0,-1 2 0,0 2 0,-2 2 0,-1 2 0,74 59 0,-68-43 0,-3 2 0,-1 2 0,-3 2 0,-1 2 0,-3 2 0,-2 1 0,-3 2 0,-2 1 0,-2 2 0,-3 0 0,-2 2 0,26 105 0,-15-22-1365,-29-119-546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6T05:39:10.275"/>
    </inkml:context>
    <inkml:brush xml:id="br0">
      <inkml:brushProperty name="width" value="0.05" units="cm"/>
      <inkml:brushProperty name="height" value="0.05" units="cm"/>
      <inkml:brushProperty name="color" value="#00A0D7"/>
    </inkml:brush>
  </inkml:definitions>
  <inkml:trace contextRef="#ctx0" brushRef="#br0">1 317 24575,'0'0'0,"14"13"0,28 24 0,69 77 0,25 56 0,-45-56 0,-81-102 0,196 221 0,-204-230 0,1-1 0,-1 0 0,1 1 0,0-1 0,-1 0 0,1 0 0,0-1 0,0 1 0,0 0 0,1-1 0,-1 0 0,0 0 0,1 0 0,-1 0 0,0 0 0,7 0 0,-6-2 0,-1 0 0,0 1 0,0-1 0,0 0 0,0-1 0,-1 1 0,1 0 0,0-1 0,0 0 0,-1 1 0,1-1 0,-1 0 0,0 0 0,1-1 0,-1 1 0,0 0 0,0-1 0,3-4 0,7-13 0,-1 1 0,0-1 0,-2-1 0,15-43 0,16-94 0,-31 115 0,25-111-80,-3 7-563,58-166 1,-73 271-6184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1:06.053"/>
    </inkml:context>
    <inkml:brush xml:id="br0">
      <inkml:brushProperty name="width" value="0.05292" units="cm"/>
      <inkml:brushProperty name="height" value="0.05292" units="cm"/>
      <inkml:brushProperty name="color" value="#33CCFF"/>
    </inkml:brush>
  </inkml:definitions>
  <inkml:trace contextRef="#ctx0" brushRef="#br0">583 1 24575,'-1'-1'0,"1"1"0,-1 0 0,0 0 0,0 0 0,0 0 0,1 0 0,-1 0 0,0 0 0,0 1 0,0-1 0,1 0 0,-1 0 0,0 0 0,0 1 0,1-1 0,-1 1 0,0-1 0,0 0 0,1 1 0,-1-1 0,0 2 0,-17 11 0,17-12 0,-39 34 0,2 1 0,2 2 0,1 2 0,-58 85 0,57-65 0,2 2 0,3 0 0,-29 85 0,25-38 0,5 1 0,5 2 0,5 1 0,-8 164 0,24-204 0,3 1 0,3 0 0,19 110 0,-13-141 0,2-1 0,2-1 0,1 0 0,3-1 0,1 0 0,2-1 0,32 50 0,-14-39 15,1-1 0,3-2 0,2-2 0,1-2 0,3-2 0,1-2 0,80 49 0,-4-15-510,3-5 0,145 54 0,-140-68-633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1:07.194"/>
    </inkml:context>
    <inkml:brush xml:id="br0">
      <inkml:brushProperty name="width" value="0.05292" units="cm"/>
      <inkml:brushProperty name="height" value="0.05292" units="cm"/>
      <inkml:brushProperty name="color" value="#33CCFF"/>
    </inkml:brush>
  </inkml:definitions>
  <inkml:trace contextRef="#ctx0" brushRef="#br0">44 1273 24575,'-11'1'0,"-19"-1"0,28-1 0,18-3 0,387-34 0,-91 13 0,18-32 0,-272 43 0,-2-3 0,0-2 0,87-43 0,-142 61 0,10-4 0,0-1 0,-1 0 0,19-15 0,-27 19 0,0 0 0,0 0 0,0-1 0,0 1 0,0 0 0,0-1 0,0 1 0,-1-1 0,0 0 0,1 1 0,-1-1 0,0 0 0,0 0 0,-1 0 0,1 0 0,0 0 0,-1 0 0,0 0 0,0 0 0,0 0 0,0-3 0,-2-3 0,0 0 0,0 1 0,-1-1 0,0 1 0,-1 0 0,1-1 0,-11-13 0,-42-52 0,50 67 0,-363-375 0,101 114 0,204 198-1365,17 18-546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1:16.598"/>
    </inkml:context>
    <inkml:brush xml:id="br0">
      <inkml:brushProperty name="width" value="0.05292" units="cm"/>
      <inkml:brushProperty name="height" value="0.05292" units="cm"/>
      <inkml:brushProperty name="color" value="#33CCFF"/>
    </inkml:brush>
  </inkml:definitions>
  <inkml:trace contextRef="#ctx0" brushRef="#br0">1049 1 24575,'-4'-1'0,"1"1"0,0 0 0,0 0 0,-1 0 0,1 1 0,0-1 0,0 1 0,0-1 0,-1 1 0,1 0 0,0 0 0,0 1 0,0-1 0,0 1 0,1-1 0,-5 4 0,-2 1 0,0 1 0,1 0 0,-12 13 0,-8 12 0,2 2 0,1 0 0,-30 57 0,-47 121 0,99-206 0,-92 220 0,-97 352 0,-3 259 0,-13 670 0,191-936 0,24-406 0,39 239 0,-24-292 0,4-1 0,80 210 0,-70-239 0,3-1 0,4-2 0,3-2 0,77 98 0,-71-114 0,2-1 0,2-4 0,3-1 0,2-4 0,2-2 0,79 46 0,-56-45 0,2-5 0,2-3 0,1-5 0,151 42 0,100 5 0,123 34 0,-333-78-1365,-12-3-5461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5:21:17.742"/>
    </inkml:context>
    <inkml:brush xml:id="br0">
      <inkml:brushProperty name="width" value="0.05292" units="cm"/>
      <inkml:brushProperty name="height" value="0.05292" units="cm"/>
      <inkml:brushProperty name="color" value="#33CCFF"/>
    </inkml:brush>
  </inkml:definitions>
  <inkml:trace contextRef="#ctx0" brushRef="#br0">0 1543 24575,'0'0'0,"0"0"0,0 0 0,6 0 0,0-1 0,0 0 0,0-1 0,0 1 0,-1-1 0,10-5 0,7-1 0,738-293 0,-649 254 0,-88 37 0,229-106 0,-217 98 0,-2-2 0,0-2 0,-2-1 0,0-1 0,27-29 0,-53 49 0,-1 0 0,0-1 0,-1 0 0,1 1 0,-1-1 0,0-1 0,0 1 0,0 0 0,-1-1 0,0 1 0,2-10 0,-3 11 0,-1 0 0,1-1 0,-1 1 0,-1-1 0,1 1 0,-1-1 0,1 1 0,-1-1 0,-1 1 0,1 0 0,-1 0 0,1 0 0,-1-1 0,0 2 0,-1-1 0,-2-4 0,-13-17 0,-1 1 0,-1 1 0,-1 1 0,-1 1 0,-44-32 0,-136-80 0,175 116 0,-651-344-1365,545 299-5461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09-08T06:11:17.521"/>
    </inkml:context>
    <inkml:brush xml:id="br0">
      <inkml:brushProperty name="width" value="0.05" units="cm"/>
      <inkml:brushProperty name="height" value="0.05" units="cm"/>
      <inkml:brushProperty name="color" value="#EFB400"/>
    </inkml:brush>
  </inkml:definitions>
  <inkml:trace contextRef="#ctx0" brushRef="#br0">17 512 24575,'1'-2'0,"0"0"0,1-1 0,-1 1 0,0 0 0,0-1 0,0 1 0,1-6 0,0 3 0,0-1 0,0-1 0,0 1 0,0-9 0,7-19 0,-8 28 0,1 0 0,-1 0 0,0 0 0,1-10 0,3-17 0,-4 26 0,1-1 0,-2 1 0,1-14 0,0-6 0,1-9 0,-3 29 0,1-1 0,1 1 0,-1 0 0,1-1 0,1 1 0,2-11 0,-2 9 0,0 1 0,-1-1 0,-1 0 0,1 1 0,-1-1 0,-3-15 0,3 22 0,-4-20 0,0-7 0,-2-9 0,5 31 0,3 17 0,0 4 0,0 1 0,-2 0 0,1 0 0,-3 16 0,1 7 0,1-27 0,1 1 0,4 14 0,1 13 0,-1 6 0,-2-33 0,-1 1 0,-1 0 0,-1 25 0,0-35 0,-1 0 0,0 0 0,0 1 0,0-2 0,0 1 0,-4 6 0,4-7 0,-1 1 0,1-1 0,0 1 0,0 0 0,0-1 0,0 1 0,1 0 0,-1 0 0,0 4 0,2 11 0,-1-8 0,1 0 0,-3 17 0,2-25 0,0 0 0,-1 0 0,1 0 0,-1 0 0,1 0 0,-1-1 0,0 1 0,1 0 0,-1 0 0,0-1 0,0 1 0,0 0 0,-1-1 0,1 1 0,0-1 0,0 1 0,-1-1 0,1 0 0,-4 2 0,-2 1 0,5-4 0,1 1 0,0-1 0,0 1 0,0 0 0,-1-1 0,1 1 0,0 0 0,0 0 0,0 0 0,0 0 0,-1 1 0,-1 2 0,-5 5 0,7-7 0,2-3 0,2 0 0,-1-1 0,0 1 0,0 0 0,1 0 0,-1 0 0,1 1 0,-1-1 0,3 0 0,13-5 0,-14 5 0,0-1 0,0 0 0,0 1 0,0-1 0,0 1 0,0 0 0,1 1 0,-1-1 0,0 1 0,1 0 0,-1 0 0,0 0 0,9 2 0,-44 1 0,28-3 0,0 0 0,1 0 0,-1 1 0,0-1 0,0 1 0,1-1 0,-1 1 0,0 0 0,1 0 0,-1 0 0,-3 2 0,5-2 0,-1 0 0,0 0 0,0 0 0,0 0 0,0 0 0,1 0 0,-1 0 0,0 1 0,1-1 0,-1 1 0,1-1 0,-2 3 0,-2-1 0,0 0 0,1-1 0,-11 4 0,15-6 0,0 0 0,0 0 0,0 0 0,0 0 0,0 0 0,0 0 0,0 0 0,0 0 0,0 0 0,0 0 0,0 0 0,0 0 0,0-1 0,0 1 0,0 0 0,0 0 0,0 0 0,0 0 0,0 0 0,0 0 0,0 0 0,0 0 0,0 0 0,0 0 0,0 0 0,0 0 0,0 0 0,0 0 0,0 0 0,0 0 0,0-1 0,0 1 0,-1 0 0,1 0 0,0 0 0,0 0 0,0 0 0,0 0 0,0 0 0,0 0 0,0 0 0,0 0 0,0 0 0,0 0 0,0 0 0,0 0 0,0 0 0,0 0 0,0 0 0,0 0 0,-1 0 0,1 0 0,0 0 0,0 0 0,0 0 0,0 0 0,0 0 0,0 0 0,0 0 0,0 0 0,0 0 0,0 0 0,0 0 0,0 0 0,0 0 0,0 1 0,3-9 0,2 0 0,4-50 0,3 9 0,10-90 0,-13 68 0,-4 37 0,0-52 0,-7 46 0,1 36 0,1 1 0,-1 0 0,0 0 0,0 0 0,0 0 0,0 1 0,0-1 0,-1 0 0,1 0 0,-4-4 0,5 7 0,0 0 0,0 0 0,0 0 0,0 0 0,0 0 0,0 0 0,0 0 0,0-1 0,0 1 0,0 0 0,0 0 0,0 0 0,0 0 0,0 0 0,-1 0 0,1 0 0,0 0 0,0 0 0,0 0 0,0 0 0,0 0 0,0 0 0,0-1 0,0 1 0,0 0 0,0 0 0,0 0 0,0 0 0,0 0 0,-1 0 0,1 0 0,0 0 0,0 0 0,0 0 0,0 0 0,0 0 0,0 0 0,0 0 0,0 0 0,0 0 0,-1 0 0,1 0 0,0 0 0,0 0 0,0 0 0,0 0 0,0 0 0,0 0 0,0 0 0,0 1 0,0-1 0,0 0 0,0 0 0,0 0 0,-1 0 0,1 0 0,0 0 0,0 0 0,1 8 0,3 8 0,-1-5 0,0 0 0,-1 0 0,0 1 0,-1-1 0,0 1 0,-1-1 0,-2 19 0,1 6 0,1-31 0,1-1 0,0 1 0,0 0 0,0-1 0,1 1 0,0-1 0,0 1 0,0-1 0,0 0 0,6 8 0,10 21 0,-17-30-195,1 1 0,0-1 0,1 1 0,-1-1 0,0 0 0,7 5 0</inkml:trace>
</inkml:ink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з одною фразо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43D7CE9C-21BD-5C8E-A9FE-87992F5FA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843098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3D7CE9C-21BD-5C8E-A9FE-87992F5FA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F8B3AA32-AEC3-491C-164F-DE89B0FDC3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4919" y="2231923"/>
            <a:ext cx="10562167" cy="2113014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32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err="1"/>
              <a:t>Дуже</a:t>
            </a:r>
            <a:r>
              <a:rPr lang="ru-RU" dirty="0"/>
              <a:t> </a:t>
            </a:r>
            <a:r>
              <a:rPr lang="ru-RU" dirty="0" err="1"/>
              <a:t>розумна</a:t>
            </a:r>
            <a:r>
              <a:rPr lang="ru-RU" dirty="0"/>
              <a:t> фраза</a:t>
            </a:r>
            <a:endParaRPr lang="ru-UA" dirty="0"/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061A4290-5CB4-0293-4DCE-B1C4BA484A1E}"/>
              </a:ext>
            </a:extLst>
          </p:cNvPr>
          <p:cNvSpPr/>
          <p:nvPr userDrawn="1"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2299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513">
          <p15:clr>
            <a:srgbClr val="FBAE40"/>
          </p15:clr>
        </p15:guide>
        <p15:guide id="3" pos="7167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5E142CA7-D9A5-1F33-F1DE-6697D221B7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1165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5E142CA7-D9A5-1F33-F1DE-6697D221B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5472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>
          <p15:clr>
            <a:srgbClr val="FBAE40"/>
          </p15:clr>
        </p15:guide>
        <p15:guide id="2" pos="7242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5E142CA7-D9A5-1F33-F1DE-6697D221B7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033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5E142CA7-D9A5-1F33-F1DE-6697D221B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A4A2BAA-0AFA-A875-46AD-DD986EC3A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559666"/>
            <a:ext cx="10801350" cy="1008000"/>
          </a:xfrm>
        </p:spPr>
        <p:txBody>
          <a:bodyPr vert="horz" lIns="0" tIns="0" rIns="0" bIns="0">
            <a:noAutofit/>
          </a:bodyPr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E3640ED-051A-A477-001D-07772741AD16}"/>
              </a:ext>
            </a:extLst>
          </p:cNvPr>
          <p:cNvSpPr txBox="1">
            <a:spLocks/>
          </p:cNvSpPr>
          <p:nvPr userDrawn="1"/>
        </p:nvSpPr>
        <p:spPr>
          <a:xfrm>
            <a:off x="10737971" y="6319116"/>
            <a:ext cx="758704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58F33DB-420C-4C6B-8ADD-EC1D9E54B115}" type="slidenum">
              <a:rPr lang="uk-UA" sz="1200" b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pPr algn="r"/>
              <a:t>‹№›</a:t>
            </a:fld>
            <a:endParaRPr lang="uk-UA" sz="1200" b="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74918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>
          <p15:clr>
            <a:srgbClr val="FBAE40"/>
          </p15:clr>
        </p15:guide>
        <p15:guide id="2" pos="7242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orient="horz" pos="3974">
          <p15:clr>
            <a:srgbClr val="FBAE40"/>
          </p15:clr>
        </p15:guide>
        <p15:guide id="5" orient="horz" pos="981">
          <p15:clr>
            <a:srgbClr val="FBAE40"/>
          </p15:clr>
        </p15:guide>
        <p15:guide id="6" orient="horz" pos="120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F81898-D24C-4212-88FA-65C169501C17}" type="datetimeFigureOut">
              <a:rPr lang="ru-UA" smtClean="0"/>
              <a:t>09.09.2023</a:t>
            </a:fld>
            <a:endParaRPr lang="ru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A97019-2E89-4F1E-AFCF-9B349F589BB2}" type="slidenum">
              <a:rPr lang="ru-UA" smtClean="0"/>
              <a:t>‹№›</a:t>
            </a:fld>
            <a:endParaRPr lang="ru-UA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571FC2F1-1292-F928-E633-E5BBFA8A46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64606430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571FC2F1-1292-F928-E633-E5BBFA8A46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0900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5" Type="http://schemas.openxmlformats.org/officeDocument/2006/relationships/image" Target="../media/image5.png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5" Type="http://schemas.openxmlformats.org/officeDocument/2006/relationships/image" Target="../media/image3.png"/><Relationship Id="rId4" Type="http://schemas.openxmlformats.org/officeDocument/2006/relationships/image" Target="../media/image13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ustomXml" Target="../ink/ink9.xml"/><Relationship Id="rId13" Type="http://schemas.openxmlformats.org/officeDocument/2006/relationships/image" Target="../media/image270.pn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25.png"/><Relationship Id="rId12" Type="http://schemas.openxmlformats.org/officeDocument/2006/relationships/customXml" Target="../ink/ink1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6" Type="http://schemas.openxmlformats.org/officeDocument/2006/relationships/image" Target="../media/image24.png"/><Relationship Id="rId11" Type="http://schemas.openxmlformats.org/officeDocument/2006/relationships/image" Target="../media/image260.png"/><Relationship Id="rId5" Type="http://schemas.openxmlformats.org/officeDocument/2006/relationships/image" Target="../media/image23.png"/><Relationship Id="rId10" Type="http://schemas.openxmlformats.org/officeDocument/2006/relationships/customXml" Target="../ink/ink10.xml"/><Relationship Id="rId4" Type="http://schemas.openxmlformats.org/officeDocument/2006/relationships/image" Target="../media/image13.emf"/><Relationship Id="rId9" Type="http://schemas.openxmlformats.org/officeDocument/2006/relationships/image" Target="../media/image250.png"/><Relationship Id="rId1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ustomXml" Target="../ink/ink12.xml"/><Relationship Id="rId13" Type="http://schemas.openxmlformats.org/officeDocument/2006/relationships/image" Target="../media/image300.png"/><Relationship Id="rId18" Type="http://schemas.openxmlformats.org/officeDocument/2006/relationships/customXml" Target="../ink/ink17.xml"/><Relationship Id="rId3" Type="http://schemas.openxmlformats.org/officeDocument/2006/relationships/oleObject" Target="../embeddings/oleObject17.bin"/><Relationship Id="rId7" Type="http://schemas.openxmlformats.org/officeDocument/2006/relationships/hyperlink" Target="ttps://t.me/RecoveryChamp" TargetMode="External"/><Relationship Id="rId12" Type="http://schemas.openxmlformats.org/officeDocument/2006/relationships/customXml" Target="../ink/ink14.xml"/><Relationship Id="rId17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6" Type="http://schemas.openxmlformats.org/officeDocument/2006/relationships/customXml" Target="../ink/ink16.xml"/><Relationship Id="rId20" Type="http://schemas.openxmlformats.org/officeDocument/2006/relationships/image" Target="../media/image3.png"/><Relationship Id="rId1" Type="http://schemas.openxmlformats.org/officeDocument/2006/relationships/tags" Target="../tags/tag18.xml"/><Relationship Id="rId6" Type="http://schemas.openxmlformats.org/officeDocument/2006/relationships/hyperlink" Target="https://casers.org/cases/ukrainian-recovery-case-championship" TargetMode="External"/><Relationship Id="rId11" Type="http://schemas.openxmlformats.org/officeDocument/2006/relationships/image" Target="../media/image290.png"/><Relationship Id="rId5" Type="http://schemas.openxmlformats.org/officeDocument/2006/relationships/hyperlink" Target="https://forms.gle/UeUEfEnofFpSMTiN9" TargetMode="External"/><Relationship Id="rId15" Type="http://schemas.openxmlformats.org/officeDocument/2006/relationships/image" Target="../media/image31.png"/><Relationship Id="rId10" Type="http://schemas.openxmlformats.org/officeDocument/2006/relationships/customXml" Target="../ink/ink13.xml"/><Relationship Id="rId19" Type="http://schemas.openxmlformats.org/officeDocument/2006/relationships/image" Target="../media/image33.png"/><Relationship Id="rId4" Type="http://schemas.openxmlformats.org/officeDocument/2006/relationships/image" Target="../media/image13.emf"/><Relationship Id="rId9" Type="http://schemas.openxmlformats.org/officeDocument/2006/relationships/image" Target="../media/image280.png"/><Relationship Id="rId14" Type="http://schemas.openxmlformats.org/officeDocument/2006/relationships/customXml" Target="../ink/ink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oleObject" Target="../embeddings/oleObject7.bin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image" Target="../media/image1.emf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13" Type="http://schemas.openxmlformats.org/officeDocument/2006/relationships/image" Target="../media/image3.png"/><Relationship Id="rId3" Type="http://schemas.openxmlformats.org/officeDocument/2006/relationships/oleObject" Target="../embeddings/oleObject8.bin"/><Relationship Id="rId7" Type="http://schemas.openxmlformats.org/officeDocument/2006/relationships/customXml" Target="../ink/ink2.xml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130.png"/><Relationship Id="rId11" Type="http://schemas.openxmlformats.org/officeDocument/2006/relationships/customXml" Target="../ink/ink4.xml"/><Relationship Id="rId5" Type="http://schemas.openxmlformats.org/officeDocument/2006/relationships/customXml" Target="../ink/ink1.xml"/><Relationship Id="rId10" Type="http://schemas.openxmlformats.org/officeDocument/2006/relationships/image" Target="../media/image150.png"/><Relationship Id="rId4" Type="http://schemas.openxmlformats.org/officeDocument/2006/relationships/image" Target="../media/image13.emf"/><Relationship Id="rId9" Type="http://schemas.openxmlformats.org/officeDocument/2006/relationships/customXml" Target="../ink/ink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6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10" Type="http://schemas.openxmlformats.org/officeDocument/2006/relationships/image" Target="../media/image3.png"/><Relationship Id="rId4" Type="http://schemas.openxmlformats.org/officeDocument/2006/relationships/image" Target="../media/image13.emf"/><Relationship Id="rId9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image" Target="../media/image13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.png"/><Relationship Id="rId3" Type="http://schemas.openxmlformats.org/officeDocument/2006/relationships/oleObject" Target="../embeddings/oleObject12.bin"/><Relationship Id="rId7" Type="http://schemas.openxmlformats.org/officeDocument/2006/relationships/customXml" Target="../ink/ink6.xml"/><Relationship Id="rId12" Type="http://schemas.openxmlformats.org/officeDocument/2006/relationships/image" Target="../media/image3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Relationship Id="rId6" Type="http://schemas.openxmlformats.org/officeDocument/2006/relationships/image" Target="../media/image22.png"/><Relationship Id="rId11" Type="http://schemas.openxmlformats.org/officeDocument/2006/relationships/customXml" Target="../ink/ink8.xml"/><Relationship Id="rId5" Type="http://schemas.openxmlformats.org/officeDocument/2006/relationships/customXml" Target="../ink/ink5.xml"/><Relationship Id="rId10" Type="http://schemas.openxmlformats.org/officeDocument/2006/relationships/image" Target="../media/image29.png"/><Relationship Id="rId4" Type="http://schemas.openxmlformats.org/officeDocument/2006/relationships/image" Target="../media/image13.emf"/><Relationship Id="rId9" Type="http://schemas.openxmlformats.org/officeDocument/2006/relationships/customXml" Target="../ink/ink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B3E4F37-698F-423B-B473-5D927AB99B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B3E4F37-698F-423B-B473-5D927AB99B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1465413-A61B-484B-3274-3F9F60E5DEA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668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68D5F1BF-947A-0F44-F59A-88E76FEA87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20" y="2231923"/>
            <a:ext cx="9544816" cy="2113014"/>
          </a:xfrm>
        </p:spPr>
        <p:txBody>
          <a:bodyPr/>
          <a:lstStyle/>
          <a:p>
            <a:r>
              <a:rPr lang="ru-RU" sz="4800" dirty="0" err="1">
                <a:solidFill>
                  <a:schemeClr val="bg1"/>
                </a:solidFill>
              </a:rPr>
              <a:t>Готовий</a:t>
            </a:r>
            <a:r>
              <a:rPr lang="ru-RU" sz="4800" dirty="0">
                <a:solidFill>
                  <a:schemeClr val="bg1"/>
                </a:solidFill>
              </a:rPr>
              <a:t> шаблон </a:t>
            </a:r>
            <a:r>
              <a:rPr lang="ru-RU" sz="4800" dirty="0" err="1">
                <a:solidFill>
                  <a:schemeClr val="bg1"/>
                </a:solidFill>
              </a:rPr>
              <a:t>презентації</a:t>
            </a:r>
            <a:r>
              <a:rPr lang="ru-RU" sz="4800" dirty="0">
                <a:solidFill>
                  <a:schemeClr val="bg1"/>
                </a:solidFill>
              </a:rPr>
              <a:t> і як ним </a:t>
            </a:r>
            <a:r>
              <a:rPr lang="ru-RU" sz="4800" dirty="0" err="1">
                <a:solidFill>
                  <a:schemeClr val="bg1"/>
                </a:solidFill>
              </a:rPr>
              <a:t>користуватися</a:t>
            </a:r>
            <a:endParaRPr lang="ru-RU" sz="4800" dirty="0">
              <a:solidFill>
                <a:schemeClr val="bg1"/>
              </a:solidFill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D366CD11-E393-D3E5-DB17-3B9C346CEB77}"/>
              </a:ext>
            </a:extLst>
          </p:cNvPr>
          <p:cNvSpPr/>
          <p:nvPr/>
        </p:nvSpPr>
        <p:spPr>
          <a:xfrm>
            <a:off x="6463314" y="549275"/>
            <a:ext cx="540328" cy="54032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0</a:t>
            </a:r>
            <a:endParaRPr lang="ru-UA" dirty="0">
              <a:latin typeface="+mj-lt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5AFFE72B-B4B5-0580-154F-C04392A07F3D}"/>
              </a:ext>
            </a:extLst>
          </p:cNvPr>
          <p:cNvSpPr/>
          <p:nvPr/>
        </p:nvSpPr>
        <p:spPr>
          <a:xfrm>
            <a:off x="7099204" y="549275"/>
            <a:ext cx="540328" cy="54032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1</a:t>
            </a:r>
            <a:endParaRPr lang="ru-UA" dirty="0">
              <a:latin typeface="+mj-lt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5FE7DACE-6813-BF9B-659A-4293B74087FE}"/>
              </a:ext>
            </a:extLst>
          </p:cNvPr>
          <p:cNvSpPr/>
          <p:nvPr/>
        </p:nvSpPr>
        <p:spPr>
          <a:xfrm>
            <a:off x="9642763" y="549275"/>
            <a:ext cx="1734849" cy="54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rgbClr val="56683B"/>
                </a:solidFill>
                <a:latin typeface="+mj-lt"/>
              </a:rPr>
              <a:t>МОДУЛЬ 4</a:t>
            </a:r>
            <a:endParaRPr lang="ru-RU" dirty="0">
              <a:solidFill>
                <a:srgbClr val="56683B"/>
              </a:solidFill>
              <a:latin typeface="+mj-lt"/>
            </a:endParaRPr>
          </a:p>
        </p:txBody>
      </p:sp>
      <p:pic>
        <p:nvPicPr>
          <p:cNvPr id="8" name="Рисунок 7" descr="Зображення, що містить текст, картинка&#10;&#10;Автоматично згенерований опис">
            <a:extLst>
              <a:ext uri="{FF2B5EF4-FFF2-40B4-BE49-F238E27FC236}">
                <a16:creationId xmlns:a16="http://schemas.microsoft.com/office/drawing/2014/main" id="{A978FE94-4F11-C0BC-E3B1-ABA9D22840C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81" y="430381"/>
            <a:ext cx="2235492" cy="865135"/>
          </a:xfrm>
          <a:prstGeom prst="rect">
            <a:avLst/>
          </a:prstGeom>
        </p:spPr>
      </p:pic>
      <p:sp>
        <p:nvSpPr>
          <p:cNvPr id="12" name="Овал 11">
            <a:extLst>
              <a:ext uri="{FF2B5EF4-FFF2-40B4-BE49-F238E27FC236}">
                <a16:creationId xmlns:a16="http://schemas.microsoft.com/office/drawing/2014/main" id="{990FB24F-163A-4FA8-0EA2-320C39A2A8C6}"/>
              </a:ext>
            </a:extLst>
          </p:cNvPr>
          <p:cNvSpPr/>
          <p:nvPr/>
        </p:nvSpPr>
        <p:spPr>
          <a:xfrm>
            <a:off x="7735094" y="549275"/>
            <a:ext cx="540328" cy="540328"/>
          </a:xfrm>
          <a:prstGeom prst="ellipse">
            <a:avLst/>
          </a:prstGeom>
          <a:solidFill>
            <a:srgbClr val="C67A2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2</a:t>
            </a:r>
            <a:endParaRPr lang="ru-UA" dirty="0">
              <a:latin typeface="+mj-lt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A70F889-CBA8-64C9-3A37-80280E176B9C}"/>
              </a:ext>
            </a:extLst>
          </p:cNvPr>
          <p:cNvSpPr/>
          <p:nvPr/>
        </p:nvSpPr>
        <p:spPr>
          <a:xfrm>
            <a:off x="8370984" y="549275"/>
            <a:ext cx="540328" cy="54032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3</a:t>
            </a:r>
            <a:endParaRPr lang="ru-UA" dirty="0">
              <a:latin typeface="+mj-lt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84E970ED-448F-42E6-D4D7-523B3D6E3E35}"/>
              </a:ext>
            </a:extLst>
          </p:cNvPr>
          <p:cNvSpPr/>
          <p:nvPr/>
        </p:nvSpPr>
        <p:spPr>
          <a:xfrm>
            <a:off x="9006874" y="549275"/>
            <a:ext cx="540328" cy="540328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 err="1">
                <a:latin typeface="+mj-lt"/>
              </a:rPr>
              <a:t>дз</a:t>
            </a:r>
            <a:endParaRPr lang="ru-UA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801418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B653CE-F36B-F172-D6FB-FDD8CEB8B4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728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B653CE-F36B-F172-D6FB-FDD8CEB8B4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8FE294B-9D13-1214-CBA3-DB26F3CCBC4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8" b="798"/>
          <a:stretch/>
        </p:blipFill>
        <p:spPr>
          <a:xfrm>
            <a:off x="-2" y="-1"/>
            <a:ext cx="12192002" cy="6858002"/>
          </a:xfrm>
          <a:prstGeom prst="rect">
            <a:avLst/>
          </a:prstGeom>
        </p:spPr>
      </p:pic>
      <p:sp>
        <p:nvSpPr>
          <p:cNvPr id="33" name="Полилиния: фигура 32">
            <a:extLst>
              <a:ext uri="{FF2B5EF4-FFF2-40B4-BE49-F238E27FC236}">
                <a16:creationId xmlns:a16="http://schemas.microsoft.com/office/drawing/2014/main" id="{EC9C56D1-9C9C-96F9-E8AA-559F1DFEE1F6}"/>
              </a:ext>
            </a:extLst>
          </p:cNvPr>
          <p:cNvSpPr/>
          <p:nvPr/>
        </p:nvSpPr>
        <p:spPr>
          <a:xfrm>
            <a:off x="-1" y="-1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5" fmla="*/ 5089586 w 12192000"/>
              <a:gd name="connsiteY5" fmla="*/ 2263571 h 6858000"/>
              <a:gd name="connsiteX6" fmla="*/ 4983480 w 12192000"/>
              <a:gd name="connsiteY6" fmla="*/ 2276476 h 6858000"/>
              <a:gd name="connsiteX7" fmla="*/ 4796288 w 12192000"/>
              <a:gd name="connsiteY7" fmla="*/ 2304978 h 6858000"/>
              <a:gd name="connsiteX8" fmla="*/ 4785936 w 12192000"/>
              <a:gd name="connsiteY8" fmla="*/ 2356737 h 6858000"/>
              <a:gd name="connsiteX9" fmla="*/ 4327011 w 12192000"/>
              <a:gd name="connsiteY9" fmla="*/ 2460254 h 6858000"/>
              <a:gd name="connsiteX10" fmla="*/ 4333912 w 12192000"/>
              <a:gd name="connsiteY10" fmla="*/ 2581023 h 6858000"/>
              <a:gd name="connsiteX11" fmla="*/ 4274893 w 12192000"/>
              <a:gd name="connsiteY11" fmla="*/ 2588392 h 6858000"/>
              <a:gd name="connsiteX12" fmla="*/ 4271802 w 12192000"/>
              <a:gd name="connsiteY12" fmla="*/ 2632782 h 6858000"/>
              <a:gd name="connsiteX13" fmla="*/ 3997661 w 12192000"/>
              <a:gd name="connsiteY13" fmla="*/ 2683103 h 6858000"/>
              <a:gd name="connsiteX14" fmla="*/ 4020018 w 12192000"/>
              <a:gd name="connsiteY14" fmla="*/ 2853618 h 6858000"/>
              <a:gd name="connsiteX15" fmla="*/ 3761118 w 12192000"/>
              <a:gd name="connsiteY15" fmla="*/ 2898475 h 6858000"/>
              <a:gd name="connsiteX16" fmla="*/ 3723162 w 12192000"/>
              <a:gd name="connsiteY16" fmla="*/ 2881223 h 6858000"/>
              <a:gd name="connsiteX17" fmla="*/ 3702458 w 12192000"/>
              <a:gd name="connsiteY17" fmla="*/ 2922629 h 6858000"/>
              <a:gd name="connsiteX18" fmla="*/ 3719711 w 12192000"/>
              <a:gd name="connsiteY18" fmla="*/ 2967487 h 6858000"/>
              <a:gd name="connsiteX19" fmla="*/ 3629996 w 12192000"/>
              <a:gd name="connsiteY19" fmla="*/ 2960586 h 6858000"/>
              <a:gd name="connsiteX20" fmla="*/ 3623095 w 12192000"/>
              <a:gd name="connsiteY20" fmla="*/ 2870871 h 6858000"/>
              <a:gd name="connsiteX21" fmla="*/ 3657601 w 12192000"/>
              <a:gd name="connsiteY21" fmla="*/ 2784607 h 6858000"/>
              <a:gd name="connsiteX22" fmla="*/ 3602392 w 12192000"/>
              <a:gd name="connsiteY22" fmla="*/ 2732848 h 6858000"/>
              <a:gd name="connsiteX23" fmla="*/ 3671403 w 12192000"/>
              <a:gd name="connsiteY23" fmla="*/ 2687991 h 6858000"/>
              <a:gd name="connsiteX24" fmla="*/ 3650700 w 12192000"/>
              <a:gd name="connsiteY24" fmla="*/ 2667288 h 6858000"/>
              <a:gd name="connsiteX25" fmla="*/ 3785272 w 12192000"/>
              <a:gd name="connsiteY25" fmla="*/ 2549968 h 6858000"/>
              <a:gd name="connsiteX26" fmla="*/ 3595491 w 12192000"/>
              <a:gd name="connsiteY26" fmla="*/ 2553419 h 6858000"/>
              <a:gd name="connsiteX27" fmla="*/ 3585139 w 12192000"/>
              <a:gd name="connsiteY27" fmla="*/ 2539617 h 6858000"/>
              <a:gd name="connsiteX28" fmla="*/ 3181423 w 12192000"/>
              <a:gd name="connsiteY28" fmla="*/ 2594826 h 6858000"/>
              <a:gd name="connsiteX29" fmla="*/ 3184873 w 12192000"/>
              <a:gd name="connsiteY29" fmla="*/ 2660386 h 6858000"/>
              <a:gd name="connsiteX30" fmla="*/ 3046851 w 12192000"/>
              <a:gd name="connsiteY30" fmla="*/ 2684540 h 6858000"/>
              <a:gd name="connsiteX31" fmla="*/ 3033049 w 12192000"/>
              <a:gd name="connsiteY31" fmla="*/ 2670738 h 6858000"/>
              <a:gd name="connsiteX32" fmla="*/ 2736300 w 12192000"/>
              <a:gd name="connsiteY32" fmla="*/ 2715595 h 6858000"/>
              <a:gd name="connsiteX33" fmla="*/ 2750102 w 12192000"/>
              <a:gd name="connsiteY33" fmla="*/ 2798409 h 6858000"/>
              <a:gd name="connsiteX34" fmla="*/ 2601728 w 12192000"/>
              <a:gd name="connsiteY34" fmla="*/ 2832915 h 6858000"/>
              <a:gd name="connsiteX35" fmla="*/ 2581024 w 12192000"/>
              <a:gd name="connsiteY35" fmla="*/ 2788057 h 6858000"/>
              <a:gd name="connsiteX36" fmla="*/ 2563772 w 12192000"/>
              <a:gd name="connsiteY36" fmla="*/ 2788057 h 6858000"/>
              <a:gd name="connsiteX37" fmla="*/ 2515464 w 12192000"/>
              <a:gd name="connsiteY37" fmla="*/ 2456803 h 6858000"/>
              <a:gd name="connsiteX38" fmla="*/ 2291177 w 12192000"/>
              <a:gd name="connsiteY38" fmla="*/ 2501660 h 6858000"/>
              <a:gd name="connsiteX39" fmla="*/ 2304979 w 12192000"/>
              <a:gd name="connsiteY39" fmla="*/ 2601727 h 6858000"/>
              <a:gd name="connsiteX40" fmla="*/ 2180759 w 12192000"/>
              <a:gd name="connsiteY40" fmla="*/ 2632782 h 6858000"/>
              <a:gd name="connsiteX41" fmla="*/ 2156605 w 12192000"/>
              <a:gd name="connsiteY41" fmla="*/ 2656936 h 6858000"/>
              <a:gd name="connsiteX42" fmla="*/ 1959923 w 12192000"/>
              <a:gd name="connsiteY42" fmla="*/ 2615529 h 6858000"/>
              <a:gd name="connsiteX43" fmla="*/ 2018582 w 12192000"/>
              <a:gd name="connsiteY43" fmla="*/ 3074454 h 6858000"/>
              <a:gd name="connsiteX44" fmla="*/ 1849504 w 12192000"/>
              <a:gd name="connsiteY44" fmla="*/ 3091707 h 6858000"/>
              <a:gd name="connsiteX45" fmla="*/ 1887461 w 12192000"/>
              <a:gd name="connsiteY45" fmla="*/ 3143466 h 6858000"/>
              <a:gd name="connsiteX46" fmla="*/ 1852955 w 12192000"/>
              <a:gd name="connsiteY46" fmla="*/ 3181422 h 6858000"/>
              <a:gd name="connsiteX47" fmla="*/ 1849504 w 12192000"/>
              <a:gd name="connsiteY47" fmla="*/ 3246983 h 6858000"/>
              <a:gd name="connsiteX48" fmla="*/ 1794295 w 12192000"/>
              <a:gd name="connsiteY48" fmla="*/ 3243532 h 6858000"/>
              <a:gd name="connsiteX49" fmla="*/ 1787394 w 12192000"/>
              <a:gd name="connsiteY49" fmla="*/ 3226279 h 6858000"/>
              <a:gd name="connsiteX50" fmla="*/ 1711482 w 12192000"/>
              <a:gd name="connsiteY50" fmla="*/ 3233180 h 6858000"/>
              <a:gd name="connsiteX51" fmla="*/ 1690778 w 12192000"/>
              <a:gd name="connsiteY51" fmla="*/ 3288389 h 6858000"/>
              <a:gd name="connsiteX52" fmla="*/ 1649372 w 12192000"/>
              <a:gd name="connsiteY52" fmla="*/ 3253884 h 6858000"/>
              <a:gd name="connsiteX53" fmla="*/ 1618316 w 12192000"/>
              <a:gd name="connsiteY53" fmla="*/ 3253884 h 6858000"/>
              <a:gd name="connsiteX54" fmla="*/ 1625218 w 12192000"/>
              <a:gd name="connsiteY54" fmla="*/ 3153817 h 6858000"/>
              <a:gd name="connsiteX55" fmla="*/ 1594162 w 12192000"/>
              <a:gd name="connsiteY55" fmla="*/ 3159882 h 6858000"/>
              <a:gd name="connsiteX56" fmla="*/ 1594160 w 12192000"/>
              <a:gd name="connsiteY56" fmla="*/ 3159882 h 6858000"/>
              <a:gd name="connsiteX57" fmla="*/ 1599069 w 12192000"/>
              <a:gd name="connsiteY57" fmla="*/ 3151418 h 6858000"/>
              <a:gd name="connsiteX58" fmla="*/ 1601064 w 12192000"/>
              <a:gd name="connsiteY58" fmla="*/ 3119312 h 6858000"/>
              <a:gd name="connsiteX59" fmla="*/ 1576910 w 12192000"/>
              <a:gd name="connsiteY59" fmla="*/ 2784607 h 6858000"/>
              <a:gd name="connsiteX60" fmla="*/ 1518250 w 12192000"/>
              <a:gd name="connsiteY60" fmla="*/ 2767354 h 6858000"/>
              <a:gd name="connsiteX61" fmla="*/ 1428535 w 12192000"/>
              <a:gd name="connsiteY61" fmla="*/ 2788057 h 6858000"/>
              <a:gd name="connsiteX62" fmla="*/ 1380227 w 12192000"/>
              <a:gd name="connsiteY62" fmla="*/ 2622430 h 6858000"/>
              <a:gd name="connsiteX63" fmla="*/ 1373578 w 12192000"/>
              <a:gd name="connsiteY63" fmla="*/ 2917274 h 6858000"/>
              <a:gd name="connsiteX64" fmla="*/ 545190 w 12192000"/>
              <a:gd name="connsiteY64" fmla="*/ 3081355 h 6858000"/>
              <a:gd name="connsiteX65" fmla="*/ 590048 w 12192000"/>
              <a:gd name="connsiteY65" fmla="*/ 3157268 h 6858000"/>
              <a:gd name="connsiteX66" fmla="*/ 652158 w 12192000"/>
              <a:gd name="connsiteY66" fmla="*/ 3157268 h 6858000"/>
              <a:gd name="connsiteX67" fmla="*/ 655609 w 12192000"/>
              <a:gd name="connsiteY67" fmla="*/ 3184872 h 6858000"/>
              <a:gd name="connsiteX68" fmla="*/ 728070 w 12192000"/>
              <a:gd name="connsiteY68" fmla="*/ 3129663 h 6858000"/>
              <a:gd name="connsiteX69" fmla="*/ 721169 w 12192000"/>
              <a:gd name="connsiteY69" fmla="*/ 3188323 h 6858000"/>
              <a:gd name="connsiteX70" fmla="*/ 841939 w 12192000"/>
              <a:gd name="connsiteY70" fmla="*/ 3153817 h 6858000"/>
              <a:gd name="connsiteX71" fmla="*/ 810884 w 12192000"/>
              <a:gd name="connsiteY71" fmla="*/ 3240082 h 6858000"/>
              <a:gd name="connsiteX72" fmla="*/ 904049 w 12192000"/>
              <a:gd name="connsiteY72" fmla="*/ 3319445 h 6858000"/>
              <a:gd name="connsiteX73" fmla="*/ 976511 w 12192000"/>
              <a:gd name="connsiteY73" fmla="*/ 3319445 h 6858000"/>
              <a:gd name="connsiteX74" fmla="*/ 1069676 w 12192000"/>
              <a:gd name="connsiteY74" fmla="*/ 3716260 h 6858000"/>
              <a:gd name="connsiteX75" fmla="*/ 1307766 w 12192000"/>
              <a:gd name="connsiteY75" fmla="*/ 3702457 h 6858000"/>
              <a:gd name="connsiteX76" fmla="*/ 1390579 w 12192000"/>
              <a:gd name="connsiteY76" fmla="*/ 4085470 h 6858000"/>
              <a:gd name="connsiteX77" fmla="*/ 1397265 w 12192000"/>
              <a:gd name="connsiteY77" fmla="*/ 4100519 h 6858000"/>
              <a:gd name="connsiteX78" fmla="*/ 1401943 w 12192000"/>
              <a:gd name="connsiteY78" fmla="*/ 4100946 h 6858000"/>
              <a:gd name="connsiteX79" fmla="*/ 1392961 w 12192000"/>
              <a:gd name="connsiteY79" fmla="*/ 4124548 h 6858000"/>
              <a:gd name="connsiteX80" fmla="*/ 1221501 w 12192000"/>
              <a:gd name="connsiteY80" fmla="*/ 4565099 h 6858000"/>
              <a:gd name="connsiteX81" fmla="*/ 1228403 w 12192000"/>
              <a:gd name="connsiteY81" fmla="*/ 4741078 h 6858000"/>
              <a:gd name="connsiteX82" fmla="*/ 1256007 w 12192000"/>
              <a:gd name="connsiteY82" fmla="*/ 4792836 h 6858000"/>
              <a:gd name="connsiteX83" fmla="*/ 1428787 w 12192000"/>
              <a:gd name="connsiteY83" fmla="*/ 4746433 h 6858000"/>
              <a:gd name="connsiteX84" fmla="*/ 1387129 w 12192000"/>
              <a:gd name="connsiteY84" fmla="*/ 4682418 h 6858000"/>
              <a:gd name="connsiteX85" fmla="*/ 1594163 w 12192000"/>
              <a:gd name="connsiteY85" fmla="*/ 4572000 h 6858000"/>
              <a:gd name="connsiteX86" fmla="*/ 1846054 w 12192000"/>
              <a:gd name="connsiteY86" fmla="*/ 4527143 h 6858000"/>
              <a:gd name="connsiteX87" fmla="*/ 1877109 w 12192000"/>
              <a:gd name="connsiteY87" fmla="*/ 4668616 h 6858000"/>
              <a:gd name="connsiteX88" fmla="*/ 2011681 w 12192000"/>
              <a:gd name="connsiteY88" fmla="*/ 4682418 h 6858000"/>
              <a:gd name="connsiteX89" fmla="*/ 1987527 w 12192000"/>
              <a:gd name="connsiteY89" fmla="*/ 4644462 h 6858000"/>
              <a:gd name="connsiteX90" fmla="*/ 2004780 w 12192000"/>
              <a:gd name="connsiteY90" fmla="*/ 4544395 h 6858000"/>
              <a:gd name="connsiteX91" fmla="*/ 2522365 w 12192000"/>
              <a:gd name="connsiteY91" fmla="*/ 4468483 h 6858000"/>
              <a:gd name="connsiteX92" fmla="*/ 2539618 w 12192000"/>
              <a:gd name="connsiteY92" fmla="*/ 4551297 h 6858000"/>
              <a:gd name="connsiteX93" fmla="*/ 2608629 w 12192000"/>
              <a:gd name="connsiteY93" fmla="*/ 4520242 h 6858000"/>
              <a:gd name="connsiteX94" fmla="*/ 2543068 w 12192000"/>
              <a:gd name="connsiteY94" fmla="*/ 4223493 h 6858000"/>
              <a:gd name="connsiteX95" fmla="*/ 2836366 w 12192000"/>
              <a:gd name="connsiteY95" fmla="*/ 4161383 h 6858000"/>
              <a:gd name="connsiteX96" fmla="*/ 2908828 w 12192000"/>
              <a:gd name="connsiteY96" fmla="*/ 4578901 h 6858000"/>
              <a:gd name="connsiteX97" fmla="*/ 3195225 w 12192000"/>
              <a:gd name="connsiteY97" fmla="*/ 4489186 h 6858000"/>
              <a:gd name="connsiteX98" fmla="*/ 3222830 w 12192000"/>
              <a:gd name="connsiteY98" fmla="*/ 4599605 h 6858000"/>
              <a:gd name="connsiteX99" fmla="*/ 3281489 w 12192000"/>
              <a:gd name="connsiteY99" fmla="*/ 4599605 h 6858000"/>
              <a:gd name="connsiteX100" fmla="*/ 3340149 w 12192000"/>
              <a:gd name="connsiteY100" fmla="*/ 4665165 h 6858000"/>
              <a:gd name="connsiteX101" fmla="*/ 3436765 w 12192000"/>
              <a:gd name="connsiteY101" fmla="*/ 4668616 h 6858000"/>
              <a:gd name="connsiteX102" fmla="*/ 3471270 w 12192000"/>
              <a:gd name="connsiteY102" fmla="*/ 4575451 h 6858000"/>
              <a:gd name="connsiteX103" fmla="*/ 3585139 w 12192000"/>
              <a:gd name="connsiteY103" fmla="*/ 4540945 h 6858000"/>
              <a:gd name="connsiteX104" fmla="*/ 3754217 w 12192000"/>
              <a:gd name="connsiteY104" fmla="*/ 4592703 h 6858000"/>
              <a:gd name="connsiteX105" fmla="*/ 3771470 w 12192000"/>
              <a:gd name="connsiteY105" fmla="*/ 4575451 h 6858000"/>
              <a:gd name="connsiteX106" fmla="*/ 3805975 w 12192000"/>
              <a:gd name="connsiteY106" fmla="*/ 4575451 h 6858000"/>
              <a:gd name="connsiteX107" fmla="*/ 3843932 w 12192000"/>
              <a:gd name="connsiteY107" fmla="*/ 4537494 h 6858000"/>
              <a:gd name="connsiteX108" fmla="*/ 3843932 w 12192000"/>
              <a:gd name="connsiteY108" fmla="*/ 4461582 h 6858000"/>
              <a:gd name="connsiteX109" fmla="*/ 4696221 w 12192000"/>
              <a:gd name="connsiteY109" fmla="*/ 4289054 h 6858000"/>
              <a:gd name="connsiteX110" fmla="*/ 4713474 w 12192000"/>
              <a:gd name="connsiteY110" fmla="*/ 4247647 h 6858000"/>
              <a:gd name="connsiteX111" fmla="*/ 4979168 w 12192000"/>
              <a:gd name="connsiteY111" fmla="*/ 4137229 h 6858000"/>
              <a:gd name="connsiteX112" fmla="*/ 4882552 w 12192000"/>
              <a:gd name="connsiteY112" fmla="*/ 3712809 h 6858000"/>
              <a:gd name="connsiteX113" fmla="*/ 4894819 w 12192000"/>
              <a:gd name="connsiteY113" fmla="*/ 3699754 h 6858000"/>
              <a:gd name="connsiteX114" fmla="*/ 4895137 w 12192000"/>
              <a:gd name="connsiteY114" fmla="*/ 3699026 h 6858000"/>
              <a:gd name="connsiteX115" fmla="*/ 4900461 w 12192000"/>
              <a:gd name="connsiteY115" fmla="*/ 3699716 h 6858000"/>
              <a:gd name="connsiteX116" fmla="*/ 5027476 w 12192000"/>
              <a:gd name="connsiteY116" fmla="*/ 3657600 h 6858000"/>
              <a:gd name="connsiteX117" fmla="*/ 5034377 w 12192000"/>
              <a:gd name="connsiteY117" fmla="*/ 3678303 h 6858000"/>
              <a:gd name="connsiteX118" fmla="*/ 5137894 w 12192000"/>
              <a:gd name="connsiteY118" fmla="*/ 3647248 h 6858000"/>
              <a:gd name="connsiteX119" fmla="*/ 5096487 w 12192000"/>
              <a:gd name="connsiteY119" fmla="*/ 3409159 h 6858000"/>
              <a:gd name="connsiteX120" fmla="*/ 5094938 w 12192000"/>
              <a:gd name="connsiteY120" fmla="*/ 3396790 h 6858000"/>
              <a:gd name="connsiteX121" fmla="*/ 5093612 w 12192000"/>
              <a:gd name="connsiteY121" fmla="*/ 3392894 h 6858000"/>
              <a:gd name="connsiteX122" fmla="*/ 5098342 w 12192000"/>
              <a:gd name="connsiteY122" fmla="*/ 3395158 h 6858000"/>
              <a:gd name="connsiteX123" fmla="*/ 5120641 w 12192000"/>
              <a:gd name="connsiteY123" fmla="*/ 3385005 h 6858000"/>
              <a:gd name="connsiteX124" fmla="*/ 4999871 w 12192000"/>
              <a:gd name="connsiteY124" fmla="*/ 2705244 h 6858000"/>
              <a:gd name="connsiteX125" fmla="*/ 5034377 w 12192000"/>
              <a:gd name="connsiteY125" fmla="*/ 2639683 h 6858000"/>
              <a:gd name="connsiteX126" fmla="*/ 5172399 w 12192000"/>
              <a:gd name="connsiteY126" fmla="*/ 2601727 h 6858000"/>
              <a:gd name="connsiteX127" fmla="*/ 5128260 w 12192000"/>
              <a:gd name="connsiteY127" fmla="*/ 2430780 h 6858000"/>
              <a:gd name="connsiteX128" fmla="*/ 5089586 w 12192000"/>
              <a:gd name="connsiteY128" fmla="*/ 226357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  <a:moveTo>
                  <a:pt x="5089586" y="2263571"/>
                </a:moveTo>
                <a:lnTo>
                  <a:pt x="4983480" y="2276476"/>
                </a:lnTo>
                <a:cubicBezTo>
                  <a:pt x="4934597" y="2283377"/>
                  <a:pt x="4829212" y="2291601"/>
                  <a:pt x="4796288" y="2304978"/>
                </a:cubicBezTo>
                <a:lnTo>
                  <a:pt x="4785936" y="2356737"/>
                </a:lnTo>
                <a:lnTo>
                  <a:pt x="4327011" y="2460254"/>
                </a:lnTo>
                <a:cubicBezTo>
                  <a:pt x="4316444" y="2516685"/>
                  <a:pt x="4342598" y="2559667"/>
                  <a:pt x="4333912" y="2581023"/>
                </a:cubicBezTo>
                <a:lnTo>
                  <a:pt x="4274893" y="2588392"/>
                </a:lnTo>
                <a:lnTo>
                  <a:pt x="4271802" y="2632782"/>
                </a:lnTo>
                <a:cubicBezTo>
                  <a:pt x="4233217" y="2658092"/>
                  <a:pt x="4039625" y="2646297"/>
                  <a:pt x="3997661" y="2683103"/>
                </a:cubicBezTo>
                <a:lnTo>
                  <a:pt x="4020018" y="2853618"/>
                </a:lnTo>
                <a:cubicBezTo>
                  <a:pt x="3980594" y="2889513"/>
                  <a:pt x="3810594" y="2893874"/>
                  <a:pt x="3761118" y="2898475"/>
                </a:cubicBezTo>
                <a:cubicBezTo>
                  <a:pt x="3711642" y="2903076"/>
                  <a:pt x="3732939" y="2877197"/>
                  <a:pt x="3723162" y="2881223"/>
                </a:cubicBezTo>
                <a:cubicBezTo>
                  <a:pt x="3713385" y="2885249"/>
                  <a:pt x="3703033" y="2908252"/>
                  <a:pt x="3702458" y="2922629"/>
                </a:cubicBezTo>
                <a:cubicBezTo>
                  <a:pt x="3701883" y="2937006"/>
                  <a:pt x="3731788" y="2961161"/>
                  <a:pt x="3719711" y="2967487"/>
                </a:cubicBezTo>
                <a:cubicBezTo>
                  <a:pt x="3707634" y="2973813"/>
                  <a:pt x="3646099" y="2976689"/>
                  <a:pt x="3629996" y="2960586"/>
                </a:cubicBezTo>
                <a:cubicBezTo>
                  <a:pt x="3613893" y="2944483"/>
                  <a:pt x="3618494" y="2900201"/>
                  <a:pt x="3623095" y="2870871"/>
                </a:cubicBezTo>
                <a:cubicBezTo>
                  <a:pt x="3627696" y="2841541"/>
                  <a:pt x="3661051" y="2807611"/>
                  <a:pt x="3657601" y="2784607"/>
                </a:cubicBezTo>
                <a:cubicBezTo>
                  <a:pt x="3654151" y="2761603"/>
                  <a:pt x="3600092" y="2748951"/>
                  <a:pt x="3602392" y="2732848"/>
                </a:cubicBezTo>
                <a:cubicBezTo>
                  <a:pt x="3604692" y="2716745"/>
                  <a:pt x="3663352" y="2698918"/>
                  <a:pt x="3671403" y="2687991"/>
                </a:cubicBezTo>
                <a:cubicBezTo>
                  <a:pt x="3679454" y="2677064"/>
                  <a:pt x="3631722" y="2690292"/>
                  <a:pt x="3650700" y="2667288"/>
                </a:cubicBezTo>
                <a:cubicBezTo>
                  <a:pt x="3669678" y="2644284"/>
                  <a:pt x="3794473" y="2568946"/>
                  <a:pt x="3785272" y="2549968"/>
                </a:cubicBezTo>
                <a:cubicBezTo>
                  <a:pt x="3776071" y="2530990"/>
                  <a:pt x="3628846" y="2555144"/>
                  <a:pt x="3595491" y="2553419"/>
                </a:cubicBezTo>
                <a:cubicBezTo>
                  <a:pt x="3562136" y="2551694"/>
                  <a:pt x="3654150" y="2532716"/>
                  <a:pt x="3585139" y="2539617"/>
                </a:cubicBezTo>
                <a:cubicBezTo>
                  <a:pt x="3516128" y="2546518"/>
                  <a:pt x="3248134" y="2574698"/>
                  <a:pt x="3181423" y="2594826"/>
                </a:cubicBezTo>
                <a:lnTo>
                  <a:pt x="3184873" y="2660386"/>
                </a:lnTo>
                <a:cubicBezTo>
                  <a:pt x="3162444" y="2675338"/>
                  <a:pt x="3072155" y="2682815"/>
                  <a:pt x="3046851" y="2684540"/>
                </a:cubicBezTo>
                <a:cubicBezTo>
                  <a:pt x="3021547" y="2686265"/>
                  <a:pt x="3084808" y="2665562"/>
                  <a:pt x="3033049" y="2670738"/>
                </a:cubicBezTo>
                <a:cubicBezTo>
                  <a:pt x="3033049" y="2670738"/>
                  <a:pt x="2783458" y="2694317"/>
                  <a:pt x="2736300" y="2715595"/>
                </a:cubicBezTo>
                <a:lnTo>
                  <a:pt x="2750102" y="2798409"/>
                </a:lnTo>
                <a:cubicBezTo>
                  <a:pt x="2727673" y="2817962"/>
                  <a:pt x="2629908" y="2834640"/>
                  <a:pt x="2601728" y="2832915"/>
                </a:cubicBezTo>
                <a:cubicBezTo>
                  <a:pt x="2573548" y="2831190"/>
                  <a:pt x="2587350" y="2795533"/>
                  <a:pt x="2581024" y="2788057"/>
                </a:cubicBezTo>
                <a:cubicBezTo>
                  <a:pt x="2574698" y="2780581"/>
                  <a:pt x="2574699" y="2843266"/>
                  <a:pt x="2563772" y="2788057"/>
                </a:cubicBezTo>
                <a:lnTo>
                  <a:pt x="2515464" y="2456803"/>
                </a:lnTo>
                <a:lnTo>
                  <a:pt x="2291177" y="2501660"/>
                </a:lnTo>
                <a:lnTo>
                  <a:pt x="2304979" y="2601727"/>
                </a:lnTo>
                <a:cubicBezTo>
                  <a:pt x="2286576" y="2623581"/>
                  <a:pt x="2205488" y="2623581"/>
                  <a:pt x="2180759" y="2632782"/>
                </a:cubicBezTo>
                <a:cubicBezTo>
                  <a:pt x="2156030" y="2641983"/>
                  <a:pt x="2193411" y="2659812"/>
                  <a:pt x="2156605" y="2656936"/>
                </a:cubicBezTo>
                <a:lnTo>
                  <a:pt x="1959923" y="2615529"/>
                </a:lnTo>
                <a:lnTo>
                  <a:pt x="2018582" y="3074454"/>
                </a:lnTo>
                <a:lnTo>
                  <a:pt x="1849504" y="3091707"/>
                </a:lnTo>
                <a:cubicBezTo>
                  <a:pt x="1827651" y="3103209"/>
                  <a:pt x="1886886" y="3128514"/>
                  <a:pt x="1887461" y="3143466"/>
                </a:cubicBezTo>
                <a:cubicBezTo>
                  <a:pt x="1888036" y="3158418"/>
                  <a:pt x="1859281" y="3164169"/>
                  <a:pt x="1852955" y="3181422"/>
                </a:cubicBezTo>
                <a:cubicBezTo>
                  <a:pt x="1846629" y="3198675"/>
                  <a:pt x="1859281" y="3236631"/>
                  <a:pt x="1849504" y="3246983"/>
                </a:cubicBezTo>
                <a:cubicBezTo>
                  <a:pt x="1839727" y="3257335"/>
                  <a:pt x="1804647" y="3246983"/>
                  <a:pt x="1794295" y="3243532"/>
                </a:cubicBezTo>
                <a:cubicBezTo>
                  <a:pt x="1783943" y="3240081"/>
                  <a:pt x="1801196" y="3228004"/>
                  <a:pt x="1787394" y="3226279"/>
                </a:cubicBezTo>
                <a:cubicBezTo>
                  <a:pt x="1773592" y="3224554"/>
                  <a:pt x="1727585" y="3222828"/>
                  <a:pt x="1711482" y="3233180"/>
                </a:cubicBezTo>
                <a:cubicBezTo>
                  <a:pt x="1695379" y="3243532"/>
                  <a:pt x="1701130" y="3284938"/>
                  <a:pt x="1690778" y="3288389"/>
                </a:cubicBezTo>
                <a:cubicBezTo>
                  <a:pt x="1680426" y="3291840"/>
                  <a:pt x="1661449" y="3259635"/>
                  <a:pt x="1649372" y="3253884"/>
                </a:cubicBezTo>
                <a:cubicBezTo>
                  <a:pt x="1637295" y="3248133"/>
                  <a:pt x="1622342" y="3270562"/>
                  <a:pt x="1618316" y="3253884"/>
                </a:cubicBezTo>
                <a:cubicBezTo>
                  <a:pt x="1614290" y="3237206"/>
                  <a:pt x="1630394" y="3169345"/>
                  <a:pt x="1625218" y="3153817"/>
                </a:cubicBezTo>
                <a:cubicBezTo>
                  <a:pt x="1621336" y="3142171"/>
                  <a:pt x="1604191" y="3155111"/>
                  <a:pt x="1594162" y="3159882"/>
                </a:cubicBezTo>
                <a:lnTo>
                  <a:pt x="1594160" y="3159882"/>
                </a:lnTo>
                <a:lnTo>
                  <a:pt x="1599069" y="3151418"/>
                </a:lnTo>
                <a:cubicBezTo>
                  <a:pt x="1600597" y="3145047"/>
                  <a:pt x="1601495" y="3134983"/>
                  <a:pt x="1601064" y="3119312"/>
                </a:cubicBezTo>
                <a:cubicBezTo>
                  <a:pt x="1599339" y="3056627"/>
                  <a:pt x="1590712" y="2843266"/>
                  <a:pt x="1576910" y="2784607"/>
                </a:cubicBezTo>
                <a:lnTo>
                  <a:pt x="1518250" y="2767354"/>
                </a:lnTo>
                <a:lnTo>
                  <a:pt x="1428535" y="2788057"/>
                </a:lnTo>
                <a:cubicBezTo>
                  <a:pt x="1405531" y="2763903"/>
                  <a:pt x="1389386" y="2600894"/>
                  <a:pt x="1380227" y="2622430"/>
                </a:cubicBezTo>
                <a:cubicBezTo>
                  <a:pt x="1371068" y="2643966"/>
                  <a:pt x="1316739" y="2704693"/>
                  <a:pt x="1373578" y="2917274"/>
                </a:cubicBezTo>
                <a:lnTo>
                  <a:pt x="545190" y="3081355"/>
                </a:lnTo>
                <a:lnTo>
                  <a:pt x="590048" y="3157268"/>
                </a:lnTo>
                <a:cubicBezTo>
                  <a:pt x="607876" y="3169920"/>
                  <a:pt x="641231" y="3152667"/>
                  <a:pt x="652158" y="3157268"/>
                </a:cubicBezTo>
                <a:cubicBezTo>
                  <a:pt x="663085" y="3161869"/>
                  <a:pt x="642957" y="3189473"/>
                  <a:pt x="655609" y="3184872"/>
                </a:cubicBezTo>
                <a:cubicBezTo>
                  <a:pt x="668261" y="3180271"/>
                  <a:pt x="717143" y="3129088"/>
                  <a:pt x="728070" y="3129663"/>
                </a:cubicBezTo>
                <a:cubicBezTo>
                  <a:pt x="738997" y="3130238"/>
                  <a:pt x="702191" y="3184297"/>
                  <a:pt x="721169" y="3188323"/>
                </a:cubicBezTo>
                <a:cubicBezTo>
                  <a:pt x="740147" y="3192349"/>
                  <a:pt x="826986" y="3145190"/>
                  <a:pt x="841939" y="3153817"/>
                </a:cubicBezTo>
                <a:lnTo>
                  <a:pt x="810884" y="3240082"/>
                </a:lnTo>
                <a:cubicBezTo>
                  <a:pt x="948619" y="3285586"/>
                  <a:pt x="872994" y="3292991"/>
                  <a:pt x="904049" y="3319445"/>
                </a:cubicBezTo>
                <a:lnTo>
                  <a:pt x="976511" y="3319445"/>
                </a:lnTo>
                <a:lnTo>
                  <a:pt x="1069676" y="3716260"/>
                </a:lnTo>
                <a:lnTo>
                  <a:pt x="1307766" y="3702457"/>
                </a:lnTo>
                <a:lnTo>
                  <a:pt x="1390579" y="4085470"/>
                </a:lnTo>
                <a:cubicBezTo>
                  <a:pt x="1392664" y="4093450"/>
                  <a:pt x="1394937" y="4098185"/>
                  <a:pt x="1397265" y="4100519"/>
                </a:cubicBezTo>
                <a:lnTo>
                  <a:pt x="1401943" y="4100946"/>
                </a:lnTo>
                <a:lnTo>
                  <a:pt x="1392961" y="4124548"/>
                </a:lnTo>
                <a:cubicBezTo>
                  <a:pt x="1349127" y="4235183"/>
                  <a:pt x="1247668" y="4469490"/>
                  <a:pt x="1221501" y="4565099"/>
                </a:cubicBezTo>
                <a:lnTo>
                  <a:pt x="1228403" y="4741078"/>
                </a:lnTo>
                <a:lnTo>
                  <a:pt x="1256007" y="4792836"/>
                </a:lnTo>
                <a:lnTo>
                  <a:pt x="1428787" y="4746433"/>
                </a:lnTo>
                <a:lnTo>
                  <a:pt x="1387129" y="4682418"/>
                </a:lnTo>
                <a:cubicBezTo>
                  <a:pt x="1414692" y="4653346"/>
                  <a:pt x="1517675" y="4597879"/>
                  <a:pt x="1594163" y="4572000"/>
                </a:cubicBezTo>
                <a:lnTo>
                  <a:pt x="1846054" y="4527143"/>
                </a:lnTo>
                <a:cubicBezTo>
                  <a:pt x="1893212" y="4543246"/>
                  <a:pt x="1849505" y="4642737"/>
                  <a:pt x="1877109" y="4668616"/>
                </a:cubicBezTo>
                <a:cubicBezTo>
                  <a:pt x="1904713" y="4694495"/>
                  <a:pt x="1993278" y="4686444"/>
                  <a:pt x="2011681" y="4682418"/>
                </a:cubicBezTo>
                <a:cubicBezTo>
                  <a:pt x="2030084" y="4678392"/>
                  <a:pt x="1988677" y="4667466"/>
                  <a:pt x="1987527" y="4644462"/>
                </a:cubicBezTo>
                <a:lnTo>
                  <a:pt x="2004780" y="4544395"/>
                </a:lnTo>
                <a:cubicBezTo>
                  <a:pt x="2093920" y="4515065"/>
                  <a:pt x="2433225" y="4467333"/>
                  <a:pt x="2522365" y="4468483"/>
                </a:cubicBezTo>
                <a:lnTo>
                  <a:pt x="2539618" y="4551297"/>
                </a:lnTo>
                <a:lnTo>
                  <a:pt x="2608629" y="4520242"/>
                </a:lnTo>
                <a:lnTo>
                  <a:pt x="2543068" y="4223493"/>
                </a:lnTo>
                <a:lnTo>
                  <a:pt x="2836366" y="4161383"/>
                </a:lnTo>
                <a:lnTo>
                  <a:pt x="2908828" y="4578901"/>
                </a:lnTo>
                <a:lnTo>
                  <a:pt x="3195225" y="4489186"/>
                </a:lnTo>
                <a:lnTo>
                  <a:pt x="3222830" y="4599605"/>
                </a:lnTo>
                <a:cubicBezTo>
                  <a:pt x="3237207" y="4618008"/>
                  <a:pt x="3261936" y="4588678"/>
                  <a:pt x="3281489" y="4599605"/>
                </a:cubicBezTo>
                <a:cubicBezTo>
                  <a:pt x="3301042" y="4610532"/>
                  <a:pt x="3314270" y="4653663"/>
                  <a:pt x="3340149" y="4665165"/>
                </a:cubicBezTo>
                <a:cubicBezTo>
                  <a:pt x="3366028" y="4676667"/>
                  <a:pt x="3414912" y="4683568"/>
                  <a:pt x="3436765" y="4668616"/>
                </a:cubicBezTo>
                <a:cubicBezTo>
                  <a:pt x="3458618" y="4653664"/>
                  <a:pt x="3446541" y="4596730"/>
                  <a:pt x="3471270" y="4575451"/>
                </a:cubicBezTo>
                <a:cubicBezTo>
                  <a:pt x="3495999" y="4554172"/>
                  <a:pt x="3537981" y="4538070"/>
                  <a:pt x="3585139" y="4540945"/>
                </a:cubicBezTo>
                <a:cubicBezTo>
                  <a:pt x="3632297" y="4543820"/>
                  <a:pt x="3723162" y="4586952"/>
                  <a:pt x="3754217" y="4592703"/>
                </a:cubicBezTo>
                <a:cubicBezTo>
                  <a:pt x="3785272" y="4598454"/>
                  <a:pt x="3762844" y="4578326"/>
                  <a:pt x="3771470" y="4575451"/>
                </a:cubicBezTo>
                <a:cubicBezTo>
                  <a:pt x="3780096" y="4572576"/>
                  <a:pt x="3793898" y="4581777"/>
                  <a:pt x="3805975" y="4575451"/>
                </a:cubicBezTo>
                <a:cubicBezTo>
                  <a:pt x="3818052" y="4569125"/>
                  <a:pt x="3837606" y="4556472"/>
                  <a:pt x="3843932" y="4537494"/>
                </a:cubicBezTo>
                <a:lnTo>
                  <a:pt x="3843932" y="4461582"/>
                </a:lnTo>
                <a:cubicBezTo>
                  <a:pt x="3985980" y="4420175"/>
                  <a:pt x="4551297" y="4324710"/>
                  <a:pt x="4696221" y="4289054"/>
                </a:cubicBezTo>
                <a:lnTo>
                  <a:pt x="4713474" y="4247647"/>
                </a:lnTo>
                <a:cubicBezTo>
                  <a:pt x="4760632" y="4222343"/>
                  <a:pt x="4897648" y="4184458"/>
                  <a:pt x="4979168" y="4137229"/>
                </a:cubicBezTo>
                <a:cubicBezTo>
                  <a:pt x="4963533" y="4057615"/>
                  <a:pt x="4897361" y="3783222"/>
                  <a:pt x="4882552" y="3712809"/>
                </a:cubicBezTo>
                <a:cubicBezTo>
                  <a:pt x="4889035" y="3706627"/>
                  <a:pt x="4892790" y="3702468"/>
                  <a:pt x="4894819" y="3699754"/>
                </a:cubicBezTo>
                <a:lnTo>
                  <a:pt x="4895137" y="3699026"/>
                </a:lnTo>
                <a:lnTo>
                  <a:pt x="4900461" y="3699716"/>
                </a:lnTo>
                <a:cubicBezTo>
                  <a:pt x="4913232" y="3698609"/>
                  <a:pt x="4946550" y="3689761"/>
                  <a:pt x="5027476" y="3657600"/>
                </a:cubicBezTo>
                <a:cubicBezTo>
                  <a:pt x="5052780" y="3651849"/>
                  <a:pt x="5015974" y="3680028"/>
                  <a:pt x="5034377" y="3678303"/>
                </a:cubicBezTo>
                <a:cubicBezTo>
                  <a:pt x="5052780" y="3676578"/>
                  <a:pt x="5081822" y="3657815"/>
                  <a:pt x="5137894" y="3647248"/>
                </a:cubicBezTo>
                <a:cubicBezTo>
                  <a:pt x="5148246" y="3602391"/>
                  <a:pt x="5099363" y="3452866"/>
                  <a:pt x="5096487" y="3409159"/>
                </a:cubicBezTo>
                <a:cubicBezTo>
                  <a:pt x="5096128" y="3403696"/>
                  <a:pt x="5095565" y="3399685"/>
                  <a:pt x="5094938" y="3396790"/>
                </a:cubicBezTo>
                <a:lnTo>
                  <a:pt x="5093612" y="3392894"/>
                </a:lnTo>
                <a:lnTo>
                  <a:pt x="5098342" y="3395158"/>
                </a:lnTo>
                <a:cubicBezTo>
                  <a:pt x="5102845" y="3394916"/>
                  <a:pt x="5109903" y="3392427"/>
                  <a:pt x="5120641" y="3385005"/>
                </a:cubicBezTo>
                <a:cubicBezTo>
                  <a:pt x="5104538" y="3267686"/>
                  <a:pt x="4985673" y="2812319"/>
                  <a:pt x="4999871" y="2705244"/>
                </a:cubicBezTo>
                <a:lnTo>
                  <a:pt x="5034377" y="2639683"/>
                </a:lnTo>
                <a:cubicBezTo>
                  <a:pt x="5063132" y="2622430"/>
                  <a:pt x="5185327" y="2636544"/>
                  <a:pt x="5172399" y="2601727"/>
                </a:cubicBezTo>
                <a:cubicBezTo>
                  <a:pt x="5159471" y="2566910"/>
                  <a:pt x="5142062" y="2487139"/>
                  <a:pt x="5128260" y="2430780"/>
                </a:cubicBezTo>
                <a:lnTo>
                  <a:pt x="5089586" y="2263571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UA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150A5DC8-1E1C-7430-AA45-F094A405F8DE}"/>
              </a:ext>
            </a:extLst>
          </p:cNvPr>
          <p:cNvGrpSpPr/>
          <p:nvPr/>
        </p:nvGrpSpPr>
        <p:grpSpPr>
          <a:xfrm>
            <a:off x="1088023" y="3711424"/>
            <a:ext cx="1053997" cy="288000"/>
            <a:chOff x="1088023" y="3711424"/>
            <a:chExt cx="1053997" cy="288000"/>
          </a:xfrm>
        </p:grpSpPr>
        <p:sp>
          <p:nvSpPr>
            <p:cNvPr id="10" name="Прямоугольник: скругленные углы 9">
              <a:extLst>
                <a:ext uri="{FF2B5EF4-FFF2-40B4-BE49-F238E27FC236}">
                  <a16:creationId xmlns:a16="http://schemas.microsoft.com/office/drawing/2014/main" id="{44B04544-F801-4141-E37C-AE2D5B45E7D2}"/>
                </a:ext>
              </a:extLst>
            </p:cNvPr>
            <p:cNvSpPr/>
            <p:nvPr/>
          </p:nvSpPr>
          <p:spPr>
            <a:xfrm>
              <a:off x="1088023" y="3711424"/>
              <a:ext cx="1053997" cy="28800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0" bIns="0" rtlCol="0" anchor="ctr"/>
            <a:lstStyle/>
            <a:p>
              <a:r>
                <a:rPr lang="uk-UA" sz="1400" dirty="0" err="1">
                  <a:solidFill>
                    <a:schemeClr val="bg1"/>
                  </a:solidFill>
                  <a:latin typeface="+mj-lt"/>
                </a:rPr>
                <a:t>Савро</a:t>
              </a:r>
              <a:endParaRPr lang="ru-RU" sz="1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3A984DB6-6BF5-49DA-5EC6-CA2D3971B8A6}"/>
                </a:ext>
              </a:extLst>
            </p:cNvPr>
            <p:cNvSpPr/>
            <p:nvPr/>
          </p:nvSpPr>
          <p:spPr>
            <a:xfrm>
              <a:off x="1172771" y="3765424"/>
              <a:ext cx="180000" cy="180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uk-UA" sz="1100" dirty="0">
                  <a:latin typeface="+mj-lt"/>
                </a:rPr>
                <a:t>2</a:t>
              </a:r>
              <a:endParaRPr lang="ru-RU" sz="1100" dirty="0">
                <a:latin typeface="+mj-lt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EB455CB-88F5-38B8-9702-82C77F3A1760}"/>
              </a:ext>
            </a:extLst>
          </p:cNvPr>
          <p:cNvGrpSpPr/>
          <p:nvPr/>
        </p:nvGrpSpPr>
        <p:grpSpPr>
          <a:xfrm>
            <a:off x="2401526" y="2928374"/>
            <a:ext cx="1530394" cy="288000"/>
            <a:chOff x="1088023" y="3711424"/>
            <a:chExt cx="1530394" cy="288000"/>
          </a:xfrm>
        </p:grpSpPr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837F9669-705D-F822-0ACA-1E7DA2D8E268}"/>
                </a:ext>
              </a:extLst>
            </p:cNvPr>
            <p:cNvSpPr/>
            <p:nvPr/>
          </p:nvSpPr>
          <p:spPr>
            <a:xfrm>
              <a:off x="1088023" y="3711424"/>
              <a:ext cx="1530394" cy="28800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0" bIns="0" rtlCol="0" anchor="ctr"/>
            <a:lstStyle/>
            <a:p>
              <a:r>
                <a:rPr lang="uk-UA" sz="1400" dirty="0" err="1">
                  <a:solidFill>
                    <a:schemeClr val="bg1"/>
                  </a:solidFill>
                  <a:latin typeface="+mj-lt"/>
                </a:rPr>
                <a:t>Грушуватка</a:t>
              </a:r>
              <a:endParaRPr lang="ru-RU" sz="1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9661DAEB-2AAB-F5BA-5F84-4DA41156C56F}"/>
                </a:ext>
              </a:extLst>
            </p:cNvPr>
            <p:cNvSpPr/>
            <p:nvPr/>
          </p:nvSpPr>
          <p:spPr>
            <a:xfrm>
              <a:off x="1172771" y="3765424"/>
              <a:ext cx="180000" cy="180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uk-UA" sz="1100" dirty="0">
                  <a:latin typeface="+mj-lt"/>
                </a:rPr>
                <a:t>1</a:t>
              </a:r>
              <a:endParaRPr lang="ru-RU" sz="1100" dirty="0">
                <a:latin typeface="+mj-lt"/>
              </a:endParaRPr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9D83C5C1-F224-C77C-5F85-C594FFD751E3}"/>
              </a:ext>
            </a:extLst>
          </p:cNvPr>
          <p:cNvGrpSpPr/>
          <p:nvPr/>
        </p:nvGrpSpPr>
        <p:grpSpPr>
          <a:xfrm>
            <a:off x="3735237" y="3230525"/>
            <a:ext cx="1053997" cy="288000"/>
            <a:chOff x="1088023" y="3711424"/>
            <a:chExt cx="1053997" cy="288000"/>
          </a:xfrm>
        </p:grpSpPr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2A15F929-3157-3EE3-4FBD-C9C232F99297}"/>
                </a:ext>
              </a:extLst>
            </p:cNvPr>
            <p:cNvSpPr/>
            <p:nvPr/>
          </p:nvSpPr>
          <p:spPr>
            <a:xfrm>
              <a:off x="1088023" y="3711424"/>
              <a:ext cx="1053997" cy="28800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0" bIns="0" rtlCol="0" anchor="ctr"/>
            <a:lstStyle/>
            <a:p>
              <a:r>
                <a:rPr lang="uk-UA" sz="1400" dirty="0" err="1">
                  <a:solidFill>
                    <a:schemeClr val="bg1"/>
                  </a:solidFill>
                  <a:latin typeface="+mj-lt"/>
                </a:rPr>
                <a:t>Саївка</a:t>
              </a:r>
              <a:endParaRPr lang="ru-RU" sz="1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A9670516-E29D-A502-D913-22A3631E03AA}"/>
                </a:ext>
              </a:extLst>
            </p:cNvPr>
            <p:cNvSpPr/>
            <p:nvPr/>
          </p:nvSpPr>
          <p:spPr>
            <a:xfrm>
              <a:off x="1172771" y="3765424"/>
              <a:ext cx="180000" cy="180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uk-UA" sz="1100">
                  <a:latin typeface="+mj-lt"/>
                </a:rPr>
                <a:t>1</a:t>
              </a:r>
              <a:endParaRPr lang="ru-RU" sz="1100" dirty="0">
                <a:latin typeface="+mj-lt"/>
              </a:endParaRP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4AD2F0D7-C007-ED1A-9C76-117DAE54EDFD}"/>
              </a:ext>
            </a:extLst>
          </p:cNvPr>
          <p:cNvGrpSpPr/>
          <p:nvPr/>
        </p:nvGrpSpPr>
        <p:grpSpPr>
          <a:xfrm>
            <a:off x="1552802" y="4378279"/>
            <a:ext cx="1207023" cy="288000"/>
            <a:chOff x="1088023" y="3711424"/>
            <a:chExt cx="1207023" cy="288000"/>
          </a:xfrm>
        </p:grpSpPr>
        <p:sp>
          <p:nvSpPr>
            <p:cNvPr id="30" name="Прямоугольник: скругленные углы 29">
              <a:extLst>
                <a:ext uri="{FF2B5EF4-FFF2-40B4-BE49-F238E27FC236}">
                  <a16:creationId xmlns:a16="http://schemas.microsoft.com/office/drawing/2014/main" id="{D2ADFDF0-3D0B-ACDA-C670-2758EA8B7D85}"/>
                </a:ext>
              </a:extLst>
            </p:cNvPr>
            <p:cNvSpPr/>
            <p:nvPr/>
          </p:nvSpPr>
          <p:spPr>
            <a:xfrm>
              <a:off x="1088023" y="3711424"/>
              <a:ext cx="1207023" cy="28800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0" rIns="0" bIns="0" rtlCol="0" anchor="ctr"/>
            <a:lstStyle/>
            <a:p>
              <a:r>
                <a:rPr lang="uk-UA" sz="1400" dirty="0">
                  <a:solidFill>
                    <a:schemeClr val="bg1"/>
                  </a:solidFill>
                  <a:latin typeface="+mj-lt"/>
                </a:rPr>
                <a:t>Кам’яне</a:t>
              </a:r>
              <a:endParaRPr lang="ru-RU" sz="1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A6538189-D363-7D64-583A-C9884EA9D8E2}"/>
                </a:ext>
              </a:extLst>
            </p:cNvPr>
            <p:cNvSpPr/>
            <p:nvPr/>
          </p:nvSpPr>
          <p:spPr>
            <a:xfrm>
              <a:off x="1172771" y="3765424"/>
              <a:ext cx="180000" cy="180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uk-UA" sz="1100">
                  <a:latin typeface="+mj-lt"/>
                </a:rPr>
                <a:t>1</a:t>
              </a:r>
              <a:endParaRPr lang="ru-RU" sz="1100" dirty="0">
                <a:latin typeface="+mj-lt"/>
              </a:endParaRPr>
            </a:p>
          </p:txBody>
        </p:sp>
      </p:grpSp>
      <p:sp>
        <p:nvSpPr>
          <p:cNvPr id="35" name="Прямоугольник: скругленные углы 34">
            <a:extLst>
              <a:ext uri="{FF2B5EF4-FFF2-40B4-BE49-F238E27FC236}">
                <a16:creationId xmlns:a16="http://schemas.microsoft.com/office/drawing/2014/main" id="{837BE826-88C5-9E39-5332-81F3A047E516}"/>
              </a:ext>
            </a:extLst>
          </p:cNvPr>
          <p:cNvSpPr/>
          <p:nvPr/>
        </p:nvSpPr>
        <p:spPr>
          <a:xfrm>
            <a:off x="5955030" y="1916113"/>
            <a:ext cx="6620969" cy="3206605"/>
          </a:xfrm>
          <a:prstGeom prst="roundRect">
            <a:avLst>
              <a:gd name="adj" fmla="val 86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0" rtlCol="0" anchor="ctr"/>
          <a:lstStyle/>
          <a:p>
            <a:pPr>
              <a:spcAft>
                <a:spcPts val="600"/>
              </a:spcAft>
            </a:pPr>
            <a:r>
              <a:rPr lang="uk-UA" sz="1100" dirty="0">
                <a:solidFill>
                  <a:schemeClr val="tx1"/>
                </a:solidFill>
                <a:latin typeface="+mj-lt"/>
              </a:rPr>
              <a:t>ПРИМІЩЕННЯ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0" dirty="0">
                <a:solidFill>
                  <a:schemeClr val="tx1"/>
                </a:solidFill>
              </a:rPr>
              <a:t>Село </a:t>
            </a:r>
            <a:r>
              <a:rPr lang="uk-UA" sz="1100" dirty="0" err="1">
                <a:solidFill>
                  <a:schemeClr val="tx1"/>
                </a:solidFill>
              </a:rPr>
              <a:t>Савро</a:t>
            </a:r>
            <a:r>
              <a:rPr lang="uk-UA" sz="1100" dirty="0">
                <a:solidFill>
                  <a:schemeClr val="tx1"/>
                </a:solidFill>
              </a:rPr>
              <a:t>, </a:t>
            </a:r>
            <a:r>
              <a:rPr lang="uk-UA" sz="1100" dirty="0" err="1">
                <a:solidFill>
                  <a:schemeClr val="tx1"/>
                </a:solidFill>
              </a:rPr>
              <a:t>вул.Молодіжна</a:t>
            </a:r>
            <a:r>
              <a:rPr lang="uk-UA" sz="1100" dirty="0">
                <a:solidFill>
                  <a:schemeClr val="tx1"/>
                </a:solidFill>
              </a:rPr>
              <a:t>, 1а (колишній фельдшерський пункт). Одноповерхова будівля, має два крила: одне крило – дві кімнати 20 та 12 м</a:t>
            </a:r>
            <a:r>
              <a:rPr lang="uk-UA" sz="1100" baseline="30000" dirty="0">
                <a:solidFill>
                  <a:schemeClr val="tx1"/>
                </a:solidFill>
              </a:rPr>
              <a:t>2</a:t>
            </a:r>
            <a:r>
              <a:rPr lang="uk-UA" sz="1100" dirty="0">
                <a:solidFill>
                  <a:schemeClr val="tx1"/>
                </a:solidFill>
              </a:rPr>
              <a:t>, газифіковане, є світло, санвузол, каналізація; інше крило будівлі тривалий час не використовувалося, має 2 кімнати по 12 м</a:t>
            </a:r>
            <a:r>
              <a:rPr lang="uk-UA" sz="1100" baseline="30000" dirty="0">
                <a:solidFill>
                  <a:schemeClr val="tx1"/>
                </a:solidFill>
              </a:rPr>
              <a:t>2</a:t>
            </a:r>
            <a:r>
              <a:rPr lang="uk-UA" sz="1100" dirty="0">
                <a:solidFill>
                  <a:schemeClr val="tx1"/>
                </a:solidFill>
              </a:rPr>
              <a:t> та одну кімнату 30 м</a:t>
            </a:r>
            <a:r>
              <a:rPr lang="uk-UA" sz="1100" baseline="30000" dirty="0">
                <a:solidFill>
                  <a:schemeClr val="tx1"/>
                </a:solidFill>
              </a:rPr>
              <a:t>2</a:t>
            </a:r>
            <a:r>
              <a:rPr lang="uk-UA" sz="1100" dirty="0">
                <a:solidFill>
                  <a:schemeClr val="tx1"/>
                </a:solidFill>
              </a:rPr>
              <a:t>.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0" dirty="0">
                <a:solidFill>
                  <a:schemeClr val="tx1"/>
                </a:solidFill>
              </a:rPr>
              <a:t>Село </a:t>
            </a:r>
            <a:r>
              <a:rPr lang="uk-UA" sz="1100" dirty="0" err="1">
                <a:solidFill>
                  <a:schemeClr val="tx1"/>
                </a:solidFill>
              </a:rPr>
              <a:t>Савро</a:t>
            </a:r>
            <a:r>
              <a:rPr lang="uk-UA" sz="1100" dirty="0">
                <a:solidFill>
                  <a:schemeClr val="tx1"/>
                </a:solidFill>
              </a:rPr>
              <a:t>, </a:t>
            </a:r>
            <a:r>
              <a:rPr lang="uk-UA" sz="1100" dirty="0" err="1">
                <a:solidFill>
                  <a:schemeClr val="tx1"/>
                </a:solidFill>
              </a:rPr>
              <a:t>вул.Молодіжна</a:t>
            </a:r>
            <a:r>
              <a:rPr lang="uk-UA" sz="1100" dirty="0">
                <a:solidFill>
                  <a:schemeClr val="tx1"/>
                </a:solidFill>
              </a:rPr>
              <a:t>, 2а (сільський клуб). Частина приміщення не використовується – дві кімнати разом 20 м</a:t>
            </a:r>
            <a:r>
              <a:rPr lang="uk-UA" sz="1100" baseline="30000" dirty="0">
                <a:solidFill>
                  <a:schemeClr val="tx1"/>
                </a:solidFill>
              </a:rPr>
              <a:t>2</a:t>
            </a:r>
            <a:r>
              <a:rPr lang="uk-UA" sz="1100" dirty="0">
                <a:solidFill>
                  <a:schemeClr val="tx1"/>
                </a:solidFill>
              </a:rPr>
              <a:t>, окремий вхід, світло є, води немає, не газифіковане, але можна облаштувати пічне опалення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0" dirty="0">
                <a:solidFill>
                  <a:schemeClr val="tx1"/>
                </a:solidFill>
              </a:rPr>
              <a:t>Село </a:t>
            </a:r>
            <a:r>
              <a:rPr lang="uk-UA" sz="1100" dirty="0" err="1">
                <a:solidFill>
                  <a:schemeClr val="tx1"/>
                </a:solidFill>
              </a:rPr>
              <a:t>Грушуватка</a:t>
            </a:r>
            <a:r>
              <a:rPr lang="uk-UA" sz="1100" dirty="0">
                <a:solidFill>
                  <a:schemeClr val="tx1"/>
                </a:solidFill>
              </a:rPr>
              <a:t>, </a:t>
            </a:r>
            <a:r>
              <a:rPr lang="uk-UA" sz="1100" dirty="0" err="1">
                <a:solidFill>
                  <a:schemeClr val="tx1"/>
                </a:solidFill>
              </a:rPr>
              <a:t>вул</a:t>
            </a:r>
            <a:r>
              <a:rPr lang="uk-UA" sz="1100" dirty="0">
                <a:solidFill>
                  <a:schemeClr val="tx1"/>
                </a:solidFill>
              </a:rPr>
              <a:t>..Шевченка, 44 (колишній фельдшерський пункт). Будівля площею 66 м</a:t>
            </a:r>
            <a:r>
              <a:rPr lang="uk-UA" sz="1100" baseline="30000" dirty="0">
                <a:solidFill>
                  <a:schemeClr val="tx1"/>
                </a:solidFill>
              </a:rPr>
              <a:t>2</a:t>
            </a:r>
            <a:r>
              <a:rPr lang="uk-UA" sz="1100" dirty="0">
                <a:solidFill>
                  <a:schemeClr val="tx1"/>
                </a:solidFill>
              </a:rPr>
              <a:t>, газифіковане, є світло і вода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0" dirty="0">
                <a:solidFill>
                  <a:schemeClr val="tx1"/>
                </a:solidFill>
              </a:rPr>
              <a:t>Село </a:t>
            </a:r>
            <a:r>
              <a:rPr lang="uk-UA" sz="1100" dirty="0" err="1">
                <a:solidFill>
                  <a:schemeClr val="tx1"/>
                </a:solidFill>
              </a:rPr>
              <a:t>Саївка</a:t>
            </a:r>
            <a:r>
              <a:rPr lang="uk-UA" sz="1100" dirty="0">
                <a:solidFill>
                  <a:schemeClr val="tx1"/>
                </a:solidFill>
              </a:rPr>
              <a:t> , вул. Пушкіна, 28 (колишній фельдшерський пункт). Одноповерхове приміщення площею 40 м</a:t>
            </a:r>
            <a:r>
              <a:rPr lang="uk-UA" sz="1100" baseline="30000" dirty="0">
                <a:solidFill>
                  <a:schemeClr val="tx1"/>
                </a:solidFill>
              </a:rPr>
              <a:t>2</a:t>
            </a:r>
            <a:r>
              <a:rPr lang="uk-UA" sz="1100" dirty="0">
                <a:solidFill>
                  <a:schemeClr val="tx1"/>
                </a:solidFill>
              </a:rPr>
              <a:t>, світло є, вода є, опалення пічне та </a:t>
            </a:r>
            <a:r>
              <a:rPr lang="uk-UA" sz="1100" dirty="0" err="1">
                <a:solidFill>
                  <a:schemeClr val="tx1"/>
                </a:solidFill>
              </a:rPr>
              <a:t>електроопалення</a:t>
            </a:r>
            <a:r>
              <a:rPr lang="uk-UA" sz="1100" dirty="0">
                <a:solidFill>
                  <a:schemeClr val="tx1"/>
                </a:solidFill>
              </a:rPr>
              <a:t>, каналізація відсутня, санвузол відсутній.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100" dirty="0">
                <a:solidFill>
                  <a:schemeClr val="tx1"/>
                </a:solidFill>
              </a:rPr>
              <a:t>Село Кам’яне. Приміщення гаража розміром 8*12 м, висота 5 м, без вікон, має великі металеві двері, не опалюється, без світла і водопостачання.</a:t>
            </a:r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BF716E74-9622-6C50-0D9E-9695924D28C7}"/>
              </a:ext>
            </a:extLst>
          </p:cNvPr>
          <p:cNvSpPr/>
          <p:nvPr/>
        </p:nvSpPr>
        <p:spPr>
          <a:xfrm>
            <a:off x="5955030" y="5209308"/>
            <a:ext cx="6620969" cy="1430482"/>
          </a:xfrm>
          <a:prstGeom prst="roundRect">
            <a:avLst>
              <a:gd name="adj" fmla="val 862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0" rtlCol="0" anchor="ctr"/>
          <a:lstStyle/>
          <a:p>
            <a:pPr>
              <a:spcAft>
                <a:spcPts val="600"/>
              </a:spcAft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ЛЮДСЬКІ РЕСУРСИ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На кожному </a:t>
            </a:r>
            <a:r>
              <a:rPr lang="ru-RU" sz="1100" dirty="0" err="1">
                <a:solidFill>
                  <a:schemeClr val="tx1"/>
                </a:solidFill>
              </a:rPr>
              <a:t>старостинському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окрузі</a:t>
            </a:r>
            <a:r>
              <a:rPr lang="ru-RU" sz="1100" dirty="0">
                <a:solidFill>
                  <a:schemeClr val="tx1"/>
                </a:solidFill>
              </a:rPr>
              <a:t> (в </a:t>
            </a:r>
            <a:r>
              <a:rPr lang="ru-RU" sz="1100" dirty="0" err="1">
                <a:solidFill>
                  <a:schemeClr val="tx1"/>
                </a:solidFill>
              </a:rPr>
              <a:t>громаді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їх</a:t>
            </a:r>
            <a:r>
              <a:rPr lang="ru-RU" sz="1100" dirty="0">
                <a:solidFill>
                  <a:schemeClr val="tx1"/>
                </a:solidFill>
              </a:rPr>
              <a:t> 4) є </a:t>
            </a:r>
            <a:r>
              <a:rPr lang="ru-RU" sz="1100" dirty="0" err="1">
                <a:solidFill>
                  <a:schemeClr val="tx1"/>
                </a:solidFill>
              </a:rPr>
              <a:t>від</a:t>
            </a:r>
            <a:r>
              <a:rPr lang="ru-RU" sz="1100" dirty="0">
                <a:solidFill>
                  <a:schemeClr val="tx1"/>
                </a:solidFill>
              </a:rPr>
              <a:t> 2 до 5 </a:t>
            </a:r>
            <a:r>
              <a:rPr lang="ru-RU" sz="1100" dirty="0" err="1">
                <a:solidFill>
                  <a:schemeClr val="tx1"/>
                </a:solidFill>
              </a:rPr>
              <a:t>осіб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активної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молоді</a:t>
            </a:r>
            <a:r>
              <a:rPr lang="ru-RU" sz="1100" dirty="0">
                <a:solidFill>
                  <a:schemeClr val="tx1"/>
                </a:solidFill>
              </a:rPr>
              <a:t>, </a:t>
            </a:r>
            <a:r>
              <a:rPr lang="ru-RU" sz="1100" dirty="0" err="1">
                <a:solidFill>
                  <a:schemeClr val="tx1"/>
                </a:solidFill>
              </a:rPr>
              <a:t>які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можуть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навчитися</a:t>
            </a:r>
            <a:r>
              <a:rPr lang="ru-RU" sz="1100" dirty="0">
                <a:solidFill>
                  <a:schemeClr val="tx1"/>
                </a:solidFill>
              </a:rPr>
              <a:t> для запуску нового </a:t>
            </a:r>
            <a:r>
              <a:rPr lang="ru-RU" sz="1100" dirty="0" err="1">
                <a:solidFill>
                  <a:schemeClr val="tx1"/>
                </a:solidFill>
              </a:rPr>
              <a:t>виробництва</a:t>
            </a:r>
            <a:r>
              <a:rPr lang="ru-RU" sz="1100" dirty="0">
                <a:solidFill>
                  <a:schemeClr val="tx1"/>
                </a:solidFill>
              </a:rPr>
              <a:t> і </a:t>
            </a:r>
            <a:r>
              <a:rPr lang="ru-RU" sz="1100" dirty="0" err="1">
                <a:solidFill>
                  <a:schemeClr val="tx1"/>
                </a:solidFill>
              </a:rPr>
              <a:t>надалі</a:t>
            </a:r>
            <a:r>
              <a:rPr lang="ru-RU" sz="1100" dirty="0">
                <a:solidFill>
                  <a:schemeClr val="tx1"/>
                </a:solidFill>
              </a:rPr>
              <a:t> бути активно </a:t>
            </a:r>
            <a:r>
              <a:rPr lang="ru-RU" sz="1100" dirty="0" err="1">
                <a:solidFill>
                  <a:schemeClr val="tx1"/>
                </a:solidFill>
              </a:rPr>
              <a:t>залучені</a:t>
            </a:r>
            <a:r>
              <a:rPr lang="ru-RU" sz="1100" dirty="0">
                <a:solidFill>
                  <a:schemeClr val="tx1"/>
                </a:solidFill>
              </a:rPr>
              <a:t> в </a:t>
            </a:r>
            <a:r>
              <a:rPr lang="ru-RU" sz="1100" dirty="0" err="1">
                <a:solidFill>
                  <a:schemeClr val="tx1"/>
                </a:solidFill>
              </a:rPr>
              <a:t>процес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діяльності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підприємства</a:t>
            </a:r>
            <a:r>
              <a:rPr lang="ru-RU" sz="1100" dirty="0">
                <a:solidFill>
                  <a:schemeClr val="tx1"/>
                </a:solidFill>
              </a:rPr>
              <a:t>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tx1"/>
                </a:solidFill>
              </a:rPr>
              <a:t>На </a:t>
            </a:r>
            <a:r>
              <a:rPr lang="ru-RU" sz="1100" dirty="0" err="1">
                <a:solidFill>
                  <a:schemeClr val="tx1"/>
                </a:solidFill>
              </a:rPr>
              <a:t>території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громади</a:t>
            </a:r>
            <a:r>
              <a:rPr lang="ru-RU" sz="1100" dirty="0">
                <a:solidFill>
                  <a:schemeClr val="tx1"/>
                </a:solidFill>
              </a:rPr>
              <a:t>, на даний момент, </a:t>
            </a:r>
            <a:r>
              <a:rPr lang="ru-RU" sz="1100" dirty="0" err="1">
                <a:solidFill>
                  <a:schemeClr val="tx1"/>
                </a:solidFill>
              </a:rPr>
              <a:t>проживає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близько</a:t>
            </a:r>
            <a:r>
              <a:rPr lang="ru-RU" sz="1100" dirty="0">
                <a:solidFill>
                  <a:schemeClr val="tx1"/>
                </a:solidFill>
              </a:rPr>
              <a:t> 350 ВПО, з </a:t>
            </a:r>
            <a:r>
              <a:rPr lang="ru-RU" sz="1100" dirty="0" err="1">
                <a:solidFill>
                  <a:schemeClr val="tx1"/>
                </a:solidFill>
              </a:rPr>
              <a:t>яких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близько</a:t>
            </a:r>
            <a:r>
              <a:rPr lang="ru-RU" sz="1100" dirty="0">
                <a:solidFill>
                  <a:schemeClr val="tx1"/>
                </a:solidFill>
              </a:rPr>
              <a:t> 30 </a:t>
            </a:r>
            <a:r>
              <a:rPr lang="ru-RU" sz="1100" dirty="0" err="1">
                <a:solidFill>
                  <a:schemeClr val="tx1"/>
                </a:solidFill>
              </a:rPr>
              <a:t>осіб</a:t>
            </a:r>
            <a:r>
              <a:rPr lang="ru-RU" sz="1100" dirty="0">
                <a:solidFill>
                  <a:schemeClr val="tx1"/>
                </a:solidFill>
              </a:rPr>
              <a:t> в </a:t>
            </a:r>
            <a:r>
              <a:rPr lang="ru-RU" sz="1100" dirty="0" err="1">
                <a:solidFill>
                  <a:schemeClr val="tx1"/>
                </a:solidFill>
              </a:rPr>
              <a:t>пошуках</a:t>
            </a:r>
            <a:r>
              <a:rPr lang="ru-RU" sz="1100" dirty="0">
                <a:solidFill>
                  <a:schemeClr val="tx1"/>
                </a:solidFill>
              </a:rPr>
              <a:t> </a:t>
            </a:r>
            <a:r>
              <a:rPr lang="ru-RU" sz="1100" dirty="0" err="1">
                <a:solidFill>
                  <a:schemeClr val="tx1"/>
                </a:solidFill>
              </a:rPr>
              <a:t>роботи</a:t>
            </a:r>
            <a:r>
              <a:rPr lang="ru-RU" sz="11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DE08F2B3-905B-7E0A-5407-64CDBCC6F6D8}"/>
              </a:ext>
            </a:extLst>
          </p:cNvPr>
          <p:cNvSpPr/>
          <p:nvPr/>
        </p:nvSpPr>
        <p:spPr>
          <a:xfrm>
            <a:off x="625150" y="549275"/>
            <a:ext cx="8601977" cy="504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F07B6E53-729D-3985-BC2D-650BE10043C3}"/>
              </a:ext>
            </a:extLst>
          </p:cNvPr>
          <p:cNvSpPr/>
          <p:nvPr/>
        </p:nvSpPr>
        <p:spPr>
          <a:xfrm>
            <a:off x="625152" y="1063666"/>
            <a:ext cx="9630676" cy="504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78B3F8-9855-9F7A-5141-EF78BE550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uk-UA" dirty="0"/>
              <a:t>Громада може надати приміщення для підприємства та залучити людські ресурси</a:t>
            </a:r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5753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B653CE-F36B-F172-D6FB-FDD8CEB8B4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096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B653CE-F36B-F172-D6FB-FDD8CEB8B4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78B3F8-9855-9F7A-5141-EF78BE550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Під</a:t>
            </a:r>
            <a:r>
              <a:rPr lang="ru-RU" dirty="0"/>
              <a:t> час </a:t>
            </a:r>
            <a:r>
              <a:rPr lang="ru-RU" dirty="0" err="1"/>
              <a:t>оцінки</a:t>
            </a:r>
            <a:r>
              <a:rPr lang="ru-RU" dirty="0"/>
              <a:t> </a:t>
            </a:r>
            <a:r>
              <a:rPr lang="ru-RU" dirty="0" err="1"/>
              <a:t>рішення</a:t>
            </a:r>
            <a:r>
              <a:rPr lang="ru-RU" dirty="0"/>
              <a:t> </a:t>
            </a:r>
            <a:r>
              <a:rPr lang="ru-RU" dirty="0" err="1"/>
              <a:t>будуть</a:t>
            </a:r>
            <a:r>
              <a:rPr lang="ru-RU" dirty="0"/>
              <a:t> </a:t>
            </a:r>
            <a:r>
              <a:rPr lang="ru-RU" dirty="0" err="1"/>
              <a:t>враховуватися</a:t>
            </a:r>
            <a:r>
              <a:rPr lang="ru-RU" dirty="0"/>
              <a:t> </a:t>
            </a:r>
            <a:r>
              <a:rPr lang="en-US" dirty="0">
                <a:solidFill>
                  <a:schemeClr val="tx2"/>
                </a:solidFill>
                <a:sym typeface="Wingdings" panose="05000000000000000000" pitchFamily="2" charset="2"/>
              </a:rPr>
              <a:t>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A3448A9F-0516-CCD2-5058-56C9DEB71641}"/>
              </a:ext>
            </a:extLst>
          </p:cNvPr>
          <p:cNvSpPr/>
          <p:nvPr/>
        </p:nvSpPr>
        <p:spPr>
          <a:xfrm flipH="1">
            <a:off x="695325" y="1916112"/>
            <a:ext cx="3240000" cy="526316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216000" rtlCol="0" anchor="t"/>
          <a:lstStyle/>
          <a:p>
            <a:pPr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ЕФЕКТИВНІСТЬ</a:t>
            </a:r>
            <a:br>
              <a:rPr lang="uk-UA" sz="1600" dirty="0">
                <a:solidFill>
                  <a:schemeClr val="tx2"/>
                </a:solidFill>
                <a:latin typeface="+mj-lt"/>
              </a:rPr>
            </a:br>
            <a:r>
              <a:rPr lang="uk-UA" sz="1600" dirty="0">
                <a:solidFill>
                  <a:schemeClr val="tx2"/>
                </a:solidFill>
                <a:latin typeface="+mj-lt"/>
              </a:rPr>
              <a:t>РІШЕННЯ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  <a:p>
            <a:pPr>
              <a:spcAft>
                <a:spcPts val="1800"/>
              </a:spcAft>
            </a:pPr>
            <a:r>
              <a:rPr lang="ru-RU" sz="1400" dirty="0" err="1">
                <a:solidFill>
                  <a:schemeClr val="tx1"/>
                </a:solidFill>
              </a:rPr>
              <a:t>Наскільки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запропоноване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рішення</a:t>
            </a:r>
            <a:r>
              <a:rPr lang="ru-RU" sz="1400" dirty="0">
                <a:solidFill>
                  <a:schemeClr val="tx1"/>
                </a:solidFill>
              </a:rPr>
              <a:t> дозволить </a:t>
            </a:r>
            <a:r>
              <a:rPr lang="ru-RU" sz="1400" dirty="0" err="1">
                <a:solidFill>
                  <a:schemeClr val="tx1"/>
                </a:solidFill>
              </a:rPr>
              <a:t>простимулювати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економічну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активність</a:t>
            </a:r>
            <a:r>
              <a:rPr lang="ru-RU" sz="1400" dirty="0">
                <a:solidFill>
                  <a:schemeClr val="tx1"/>
                </a:solidFill>
              </a:rPr>
              <a:t> та </a:t>
            </a:r>
            <a:r>
              <a:rPr lang="ru-RU" sz="1400" dirty="0" err="1">
                <a:solidFill>
                  <a:schemeClr val="tx1"/>
                </a:solidFill>
              </a:rPr>
              <a:t>підтримати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соціальні</a:t>
            </a:r>
            <a:r>
              <a:rPr lang="ru-RU" sz="1400" dirty="0">
                <a:solidFill>
                  <a:schemeClr val="tx1"/>
                </a:solidFill>
              </a:rPr>
              <a:t> проєкти в </a:t>
            </a:r>
            <a:r>
              <a:rPr lang="ru-RU" sz="1400" dirty="0" err="1">
                <a:solidFill>
                  <a:schemeClr val="tx1"/>
                </a:solidFill>
              </a:rPr>
              <a:t>громаді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D84A7D60-3592-6F25-FC02-5F1B1652A0C1}"/>
              </a:ext>
            </a:extLst>
          </p:cNvPr>
          <p:cNvSpPr/>
          <p:nvPr/>
        </p:nvSpPr>
        <p:spPr>
          <a:xfrm flipH="1">
            <a:off x="4476000" y="1916112"/>
            <a:ext cx="3240000" cy="526316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216000" rtlCol="0" anchor="t"/>
          <a:lstStyle/>
          <a:p>
            <a:pPr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РЕАЛЬНІСТЬ ВПРОВАДЖЕННЯ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  <a:p>
            <a:pPr>
              <a:spcAft>
                <a:spcPts val="1800"/>
              </a:spcAft>
            </a:pPr>
            <a:r>
              <a:rPr lang="ru-RU" sz="1400" dirty="0" err="1">
                <a:solidFill>
                  <a:schemeClr val="tx1"/>
                </a:solidFill>
              </a:rPr>
              <a:t>Чи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наявний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покроковий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опис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дій</a:t>
            </a:r>
            <a:r>
              <a:rPr lang="ru-RU" sz="1400" dirty="0">
                <a:solidFill>
                  <a:schemeClr val="tx1"/>
                </a:solidFill>
              </a:rPr>
              <a:t>, </a:t>
            </a:r>
            <a:r>
              <a:rPr lang="ru-RU" sz="1400" dirty="0" err="1">
                <a:solidFill>
                  <a:schemeClr val="tx1"/>
                </a:solidFill>
              </a:rPr>
              <a:t>що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будуть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направлені</a:t>
            </a:r>
            <a:r>
              <a:rPr lang="ru-RU" sz="1400" dirty="0">
                <a:solidFill>
                  <a:schemeClr val="tx1"/>
                </a:solidFill>
              </a:rPr>
              <a:t> на </a:t>
            </a:r>
            <a:r>
              <a:rPr lang="ru-RU" sz="1400" dirty="0" err="1">
                <a:solidFill>
                  <a:schemeClr val="tx1"/>
                </a:solidFill>
              </a:rPr>
              <a:t>розв’язання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проблеми</a:t>
            </a:r>
            <a:endParaRPr lang="ru-RU" sz="1400" dirty="0">
              <a:solidFill>
                <a:schemeClr val="tx1"/>
              </a:solidFill>
            </a:endParaRPr>
          </a:p>
          <a:p>
            <a:pPr>
              <a:spcAft>
                <a:spcPts val="1800"/>
              </a:spcAft>
            </a:pPr>
            <a:r>
              <a:rPr lang="ru-RU" sz="1400" dirty="0" err="1">
                <a:solidFill>
                  <a:schemeClr val="tx1"/>
                </a:solidFill>
              </a:rPr>
              <a:t>Наскільки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запропоновані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дії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знаходяться</a:t>
            </a:r>
            <a:r>
              <a:rPr lang="ru-RU" sz="1400" dirty="0">
                <a:solidFill>
                  <a:schemeClr val="tx1"/>
                </a:solidFill>
              </a:rPr>
              <a:t> у </a:t>
            </a:r>
            <a:r>
              <a:rPr lang="ru-RU" sz="1400" dirty="0" err="1">
                <a:solidFill>
                  <a:schemeClr val="tx1"/>
                </a:solidFill>
              </a:rPr>
              <a:t>сфері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впливу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місцевих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органів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влади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88500F2A-639E-BFF7-81C1-C72D055D5EDE}"/>
              </a:ext>
            </a:extLst>
          </p:cNvPr>
          <p:cNvSpPr/>
          <p:nvPr/>
        </p:nvSpPr>
        <p:spPr>
          <a:xfrm flipH="1">
            <a:off x="8256675" y="1916112"/>
            <a:ext cx="3240000" cy="526316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216000" rtlCol="0" anchor="t"/>
          <a:lstStyle/>
          <a:p>
            <a:pPr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ЗРОЗУМІЛІСТЬ ТА</a:t>
            </a:r>
            <a:br>
              <a:rPr lang="uk-UA" sz="1600" dirty="0">
                <a:solidFill>
                  <a:schemeClr val="tx2"/>
                </a:solidFill>
                <a:latin typeface="+mj-lt"/>
              </a:rPr>
            </a:br>
            <a:r>
              <a:rPr lang="uk-UA" sz="1600" dirty="0">
                <a:solidFill>
                  <a:schemeClr val="tx2"/>
                </a:solidFill>
                <a:latin typeface="+mj-lt"/>
              </a:rPr>
              <a:t>ДИЗАЙН ПРЕЗЕНТАЦІЇ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  <a:p>
            <a:pPr>
              <a:spcAft>
                <a:spcPts val="1800"/>
              </a:spcAft>
            </a:pPr>
            <a:r>
              <a:rPr lang="ru-RU" sz="1400" dirty="0" err="1">
                <a:solidFill>
                  <a:schemeClr val="tx1"/>
                </a:solidFill>
              </a:rPr>
              <a:t>Наскільки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інформація</a:t>
            </a:r>
            <a:r>
              <a:rPr lang="ru-RU" sz="1400" dirty="0">
                <a:solidFill>
                  <a:schemeClr val="tx1"/>
                </a:solidFill>
              </a:rPr>
              <a:t> подана в </a:t>
            </a:r>
            <a:r>
              <a:rPr lang="ru-RU" sz="1400" dirty="0" err="1">
                <a:solidFill>
                  <a:schemeClr val="tx1"/>
                </a:solidFill>
              </a:rPr>
              <a:t>презентації</a:t>
            </a:r>
            <a:r>
              <a:rPr lang="ru-RU" sz="1400" dirty="0">
                <a:solidFill>
                  <a:schemeClr val="tx1"/>
                </a:solidFill>
              </a:rPr>
              <a:t> є </a:t>
            </a:r>
            <a:r>
              <a:rPr lang="ru-RU" sz="1400" dirty="0" err="1">
                <a:solidFill>
                  <a:schemeClr val="tx1"/>
                </a:solidFill>
              </a:rPr>
              <a:t>зрозумілою</a:t>
            </a:r>
            <a:r>
              <a:rPr lang="ru-RU" sz="1400" dirty="0">
                <a:solidFill>
                  <a:schemeClr val="tx1"/>
                </a:solidFill>
              </a:rPr>
              <a:t> та легкою в </a:t>
            </a:r>
            <a:r>
              <a:rPr lang="ru-RU" sz="1400" dirty="0" err="1">
                <a:solidFill>
                  <a:schemeClr val="tx1"/>
                </a:solidFill>
              </a:rPr>
              <a:t>сприйнятті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3444876-A3ED-C5ED-3D78-73DFB1312ED7}"/>
              </a:ext>
            </a:extLst>
          </p:cNvPr>
          <p:cNvSpPr txBox="1">
            <a:spLocks/>
          </p:cNvSpPr>
          <p:nvPr/>
        </p:nvSpPr>
        <p:spPr>
          <a:xfrm>
            <a:off x="695325" y="5815408"/>
            <a:ext cx="3240000" cy="10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40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1BB144-D4C6-195B-24EF-E2D18A3EE1AC}"/>
              </a:ext>
            </a:extLst>
          </p:cNvPr>
          <p:cNvSpPr txBox="1">
            <a:spLocks/>
          </p:cNvSpPr>
          <p:nvPr/>
        </p:nvSpPr>
        <p:spPr>
          <a:xfrm>
            <a:off x="4476000" y="5815408"/>
            <a:ext cx="3240000" cy="10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3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D75D46C-902A-4BCA-2F19-B1B5141243BB}"/>
              </a:ext>
            </a:extLst>
          </p:cNvPr>
          <p:cNvSpPr txBox="1">
            <a:spLocks/>
          </p:cNvSpPr>
          <p:nvPr/>
        </p:nvSpPr>
        <p:spPr>
          <a:xfrm>
            <a:off x="8256675" y="5815408"/>
            <a:ext cx="3240000" cy="10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3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085E4E-C2B4-D6EA-37EC-BC8C582CEB75}"/>
              </a:ext>
            </a:extLst>
          </p:cNvPr>
          <p:cNvSpPr txBox="1"/>
          <p:nvPr/>
        </p:nvSpPr>
        <p:spPr>
          <a:xfrm>
            <a:off x="4726181" y="5332551"/>
            <a:ext cx="554480" cy="298630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b">
            <a:noAutofit/>
          </a:bodyPr>
          <a:lstStyle/>
          <a:p>
            <a:pPr>
              <a:spcAft>
                <a:spcPts val="1200"/>
              </a:spcAft>
            </a:pPr>
            <a:r>
              <a:rPr lang="uk-UA" sz="1100" dirty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БАЛІВ</a:t>
            </a:r>
            <a:endParaRPr lang="en-US" sz="1100" dirty="0">
              <a:solidFill>
                <a:schemeClr val="accent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924B6D-E635-FF72-E1E1-6BABADE24030}"/>
              </a:ext>
            </a:extLst>
          </p:cNvPr>
          <p:cNvSpPr txBox="1"/>
          <p:nvPr/>
        </p:nvSpPr>
        <p:spPr>
          <a:xfrm>
            <a:off x="8505701" y="5332551"/>
            <a:ext cx="554480" cy="298630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b">
            <a:noAutofit/>
          </a:bodyPr>
          <a:lstStyle/>
          <a:p>
            <a:pPr>
              <a:spcAft>
                <a:spcPts val="1200"/>
              </a:spcAft>
            </a:pPr>
            <a:r>
              <a:rPr lang="uk-UA" sz="1100" dirty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БАЛІВ</a:t>
            </a:r>
            <a:endParaRPr lang="en-US" sz="1100" dirty="0">
              <a:solidFill>
                <a:schemeClr val="accent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3B296F-4D2C-E11D-6344-8ABDBCF51CFC}"/>
              </a:ext>
            </a:extLst>
          </p:cNvPr>
          <p:cNvSpPr txBox="1"/>
          <p:nvPr/>
        </p:nvSpPr>
        <p:spPr>
          <a:xfrm rot="18729504">
            <a:off x="1031444" y="5622111"/>
            <a:ext cx="554480" cy="298630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b">
            <a:noAutofit/>
          </a:bodyPr>
          <a:lstStyle/>
          <a:p>
            <a:pPr algn="r">
              <a:spcAft>
                <a:spcPts val="1200"/>
              </a:spcAft>
            </a:pPr>
            <a:r>
              <a:rPr lang="uk-UA" sz="1100" dirty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</a:rPr>
              <a:t>БАЛІВ</a:t>
            </a:r>
            <a:endParaRPr lang="en-US" sz="1100" dirty="0">
              <a:solidFill>
                <a:schemeClr val="accent2">
                  <a:lumMod val="60000"/>
                  <a:lumOff val="40000"/>
                </a:schemeClr>
              </a:solidFill>
              <a:latin typeface="+mj-lt"/>
            </a:endParaRPr>
          </a:p>
        </p:txBody>
      </p:sp>
      <p:pic>
        <p:nvPicPr>
          <p:cNvPr id="4" name="Picture 2" descr="Check Mark Button on Apple iOS 15.4">
            <a:extLst>
              <a:ext uri="{FF2B5EF4-FFF2-40B4-BE49-F238E27FC236}">
                <a16:creationId xmlns:a16="http://schemas.microsoft.com/office/drawing/2014/main" id="{88D37DB3-F8A5-5B70-14C1-052BA994D4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14145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B653CE-F36B-F172-D6FB-FDD8CEB8B4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898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B653CE-F36B-F172-D6FB-FDD8CEB8B4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78B3F8-9855-9F7A-5141-EF78BE550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uk-UA" sz="3200" dirty="0"/>
              <a:t>Оцінювати рішення буде команда проєкту* та представники громади </a:t>
            </a:r>
            <a:r>
              <a:rPr lang="uk-UA" sz="3200" dirty="0">
                <a:sym typeface="Wingdings" panose="05000000000000000000" pitchFamily="2" charset="2"/>
              </a:rPr>
              <a:t></a:t>
            </a:r>
            <a:endParaRPr lang="uk-UA" sz="3200" dirty="0"/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01D590DB-5EAA-E8C2-7D6D-9CDF955ADE64}"/>
              </a:ext>
            </a:extLst>
          </p:cNvPr>
          <p:cNvGrpSpPr/>
          <p:nvPr/>
        </p:nvGrpSpPr>
        <p:grpSpPr>
          <a:xfrm>
            <a:off x="6096000" y="1916113"/>
            <a:ext cx="5076375" cy="1980000"/>
            <a:chOff x="695325" y="2943031"/>
            <a:chExt cx="5076375" cy="1980000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3EBC4A40-5C1A-8FC0-3385-42B51F3E08B2}"/>
                </a:ext>
              </a:extLst>
            </p:cNvPr>
            <p:cNvSpPr/>
            <p:nvPr/>
          </p:nvSpPr>
          <p:spPr>
            <a:xfrm>
              <a:off x="695325" y="2943031"/>
              <a:ext cx="1980000" cy="1980000"/>
            </a:xfrm>
            <a:prstGeom prst="ellipse">
              <a:avLst/>
            </a:prstGeom>
            <a:solidFill>
              <a:schemeClr val="accent4"/>
            </a:solidFill>
            <a:ln w="76200">
              <a:solidFill>
                <a:schemeClr val="accent4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A01B1ED1-95BA-281F-A323-ACF2DDEC3FE1}"/>
                </a:ext>
              </a:extLst>
            </p:cNvPr>
            <p:cNvSpPr/>
            <p:nvPr/>
          </p:nvSpPr>
          <p:spPr>
            <a:xfrm>
              <a:off x="2891700" y="3456223"/>
              <a:ext cx="2880000" cy="10159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>
                <a:spcAft>
                  <a:spcPts val="600"/>
                </a:spcAft>
              </a:pPr>
              <a:r>
                <a:rPr lang="ru-RU" b="1" dirty="0">
                  <a:solidFill>
                    <a:schemeClr val="tx1"/>
                  </a:solidFill>
                  <a:latin typeface="+mj-lt"/>
                </a:rPr>
                <a:t>Агафонова </a:t>
              </a:r>
              <a:r>
                <a:rPr lang="ru-RU" b="1" dirty="0" err="1">
                  <a:solidFill>
                    <a:schemeClr val="tx1"/>
                  </a:solidFill>
                  <a:latin typeface="+mj-lt"/>
                </a:rPr>
                <a:t>Олена</a:t>
              </a:r>
              <a:r>
                <a:rPr lang="ru-RU" b="1" dirty="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ru-RU" b="1" dirty="0" err="1">
                  <a:solidFill>
                    <a:schemeClr val="tx1"/>
                  </a:solidFill>
                  <a:latin typeface="+mj-lt"/>
                </a:rPr>
                <a:t>Віталіївна</a:t>
              </a:r>
              <a:endParaRPr lang="ru-RU" b="1" dirty="0">
                <a:solidFill>
                  <a:schemeClr val="tx1"/>
                </a:solidFill>
                <a:latin typeface="+mj-lt"/>
              </a:endParaRPr>
            </a:p>
            <a:p>
              <a:pPr>
                <a:spcAft>
                  <a:spcPts val="600"/>
                </a:spcAft>
              </a:pPr>
              <a:r>
                <a:rPr lang="ru-RU" sz="1200" dirty="0" err="1">
                  <a:solidFill>
                    <a:schemeClr val="tx1"/>
                  </a:solidFill>
                </a:rPr>
                <a:t>спеціалістка</a:t>
              </a:r>
              <a:r>
                <a:rPr lang="ru-RU" sz="1200" dirty="0">
                  <a:solidFill>
                    <a:schemeClr val="tx1"/>
                  </a:solidFill>
                </a:rPr>
                <a:t> </a:t>
              </a:r>
              <a:r>
                <a:rPr lang="ru-RU" sz="1200" dirty="0" err="1">
                  <a:solidFill>
                    <a:schemeClr val="tx1"/>
                  </a:solidFill>
                </a:rPr>
                <a:t>загальноорганізаційного</a:t>
              </a:r>
              <a:r>
                <a:rPr lang="ru-RU" sz="1200" dirty="0">
                  <a:solidFill>
                    <a:schemeClr val="tx1"/>
                  </a:solidFill>
                </a:rPr>
                <a:t> </a:t>
              </a:r>
              <a:r>
                <a:rPr lang="ru-RU" sz="1200" dirty="0" err="1">
                  <a:solidFill>
                    <a:schemeClr val="tx1"/>
                  </a:solidFill>
                </a:rPr>
                <a:t>відділу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pic>
          <p:nvPicPr>
            <p:cNvPr id="7" name="Рисунок 6" descr="Изображение выглядит как человек, внутренний&#10;&#10;Автоматически созданное описание">
              <a:extLst>
                <a:ext uri="{FF2B5EF4-FFF2-40B4-BE49-F238E27FC236}">
                  <a16:creationId xmlns:a16="http://schemas.microsoft.com/office/drawing/2014/main" id="{C9D735A0-6C9F-EFBD-FD93-400FEE5FDF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406" b="24424"/>
            <a:stretch/>
          </p:blipFill>
          <p:spPr>
            <a:xfrm>
              <a:off x="749543" y="3007640"/>
              <a:ext cx="1871564" cy="1871564"/>
            </a:xfrm>
            <a:prstGeom prst="ellipse">
              <a:avLst/>
            </a:prstGeom>
          </p:spPr>
        </p:pic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68CEF84D-3618-6363-0D16-898707827386}"/>
              </a:ext>
            </a:extLst>
          </p:cNvPr>
          <p:cNvGrpSpPr/>
          <p:nvPr/>
        </p:nvGrpSpPr>
        <p:grpSpPr>
          <a:xfrm>
            <a:off x="695325" y="4089734"/>
            <a:ext cx="5120120" cy="1980000"/>
            <a:chOff x="6096000" y="2943031"/>
            <a:chExt cx="5120120" cy="1980000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7184F927-7559-8B35-2AF8-E6F3A0A9006C}"/>
                </a:ext>
              </a:extLst>
            </p:cNvPr>
            <p:cNvSpPr/>
            <p:nvPr/>
          </p:nvSpPr>
          <p:spPr>
            <a:xfrm>
              <a:off x="6096000" y="2943031"/>
              <a:ext cx="1980000" cy="1980000"/>
            </a:xfrm>
            <a:prstGeom prst="ellipse">
              <a:avLst/>
            </a:prstGeom>
            <a:solidFill>
              <a:schemeClr val="accent4"/>
            </a:solidFill>
            <a:ln w="76200">
              <a:solidFill>
                <a:schemeClr val="accent4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2CA15F62-F986-FF88-502B-4827E72BF252}"/>
                </a:ext>
              </a:extLst>
            </p:cNvPr>
            <p:cNvSpPr/>
            <p:nvPr/>
          </p:nvSpPr>
          <p:spPr>
            <a:xfrm>
              <a:off x="8336120" y="3456223"/>
              <a:ext cx="2880000" cy="10159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>
                <a:spcAft>
                  <a:spcPts val="600"/>
                </a:spcAft>
              </a:pPr>
              <a:r>
                <a:rPr lang="ru-RU" b="1" dirty="0" err="1">
                  <a:solidFill>
                    <a:schemeClr val="tx1"/>
                  </a:solidFill>
                  <a:latin typeface="+mj-lt"/>
                </a:rPr>
                <a:t>Лозова</a:t>
              </a:r>
              <a:r>
                <a:rPr lang="ru-RU" b="1" dirty="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ru-RU" b="1" dirty="0" err="1">
                  <a:solidFill>
                    <a:schemeClr val="tx1"/>
                  </a:solidFill>
                  <a:latin typeface="+mj-lt"/>
                </a:rPr>
                <a:t>Аліна</a:t>
              </a:r>
              <a:r>
                <a:rPr lang="ru-RU" b="1" dirty="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ru-RU" b="1" dirty="0" err="1">
                  <a:solidFill>
                    <a:schemeClr val="tx1"/>
                  </a:solidFill>
                  <a:latin typeface="+mj-lt"/>
                </a:rPr>
                <a:t>Олександрівна</a:t>
              </a:r>
              <a:endParaRPr lang="ru-RU" b="1" dirty="0">
                <a:solidFill>
                  <a:schemeClr val="tx1"/>
                </a:solidFill>
                <a:latin typeface="+mj-lt"/>
              </a:endParaRPr>
            </a:p>
            <a:p>
              <a:pPr>
                <a:spcAft>
                  <a:spcPts val="600"/>
                </a:spcAft>
              </a:pPr>
              <a:r>
                <a:rPr lang="ru-RU" sz="1200" dirty="0" err="1">
                  <a:solidFill>
                    <a:schemeClr val="tx1"/>
                  </a:solidFill>
                </a:rPr>
                <a:t>художня</a:t>
              </a:r>
              <a:r>
                <a:rPr lang="ru-RU" sz="1200" dirty="0">
                  <a:solidFill>
                    <a:schemeClr val="tx1"/>
                  </a:solidFill>
                </a:rPr>
                <a:t> </a:t>
              </a:r>
              <a:r>
                <a:rPr lang="ru-RU" sz="1200" dirty="0" err="1">
                  <a:solidFill>
                    <a:schemeClr val="tx1"/>
                  </a:solidFill>
                </a:rPr>
                <a:t>керівниця</a:t>
              </a:r>
              <a:r>
                <a:rPr lang="ru-RU" sz="1200" dirty="0">
                  <a:solidFill>
                    <a:schemeClr val="tx1"/>
                  </a:solidFill>
                </a:rPr>
                <a:t> </a:t>
              </a:r>
              <a:r>
                <a:rPr lang="ru-RU" sz="1200" dirty="0" err="1">
                  <a:solidFill>
                    <a:schemeClr val="tx1"/>
                  </a:solidFill>
                </a:rPr>
                <a:t>Нерудстальського</a:t>
              </a:r>
              <a:r>
                <a:rPr lang="ru-RU" sz="1200" dirty="0">
                  <a:solidFill>
                    <a:schemeClr val="tx1"/>
                  </a:solidFill>
                </a:rPr>
                <a:t> </a:t>
              </a:r>
              <a:r>
                <a:rPr lang="ru-RU" sz="1200" dirty="0" err="1">
                  <a:solidFill>
                    <a:schemeClr val="tx1"/>
                  </a:solidFill>
                </a:rPr>
                <a:t>будинку</a:t>
              </a:r>
              <a:r>
                <a:rPr lang="ru-RU" sz="1200" dirty="0">
                  <a:solidFill>
                    <a:schemeClr val="tx1"/>
                  </a:solidFill>
                </a:rPr>
                <a:t> </a:t>
              </a:r>
              <a:r>
                <a:rPr lang="ru-RU" sz="1200" dirty="0" err="1">
                  <a:solidFill>
                    <a:schemeClr val="tx1"/>
                  </a:solidFill>
                </a:rPr>
                <a:t>культури</a:t>
              </a:r>
              <a:r>
                <a:rPr lang="ru-RU" sz="1200" dirty="0">
                  <a:solidFill>
                    <a:schemeClr val="tx1"/>
                  </a:solidFill>
                </a:rPr>
                <a:t> </a:t>
              </a:r>
            </a:p>
          </p:txBody>
        </p:sp>
        <p:pic>
          <p:nvPicPr>
            <p:cNvPr id="9" name="Рисунок 8" descr="Изображение выглядит как человек, женщина, внутренний, темный&#10;&#10;Автоматически созданное описание">
              <a:extLst>
                <a:ext uri="{FF2B5EF4-FFF2-40B4-BE49-F238E27FC236}">
                  <a16:creationId xmlns:a16="http://schemas.microsoft.com/office/drawing/2014/main" id="{622147C0-2A3F-61B7-DD5B-E500CCDD21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886" b="40190"/>
            <a:stretch/>
          </p:blipFill>
          <p:spPr>
            <a:xfrm>
              <a:off x="6186000" y="3033031"/>
              <a:ext cx="1800000" cy="1800000"/>
            </a:xfrm>
            <a:prstGeom prst="ellipse">
              <a:avLst/>
            </a:prstGeom>
          </p:spPr>
        </p:pic>
      </p:grpSp>
      <p:sp>
        <p:nvSpPr>
          <p:cNvPr id="17" name="Овал 16">
            <a:extLst>
              <a:ext uri="{FF2B5EF4-FFF2-40B4-BE49-F238E27FC236}">
                <a16:creationId xmlns:a16="http://schemas.microsoft.com/office/drawing/2014/main" id="{78176F79-8C1E-5B81-E104-BB5F6F8C6549}"/>
              </a:ext>
            </a:extLst>
          </p:cNvPr>
          <p:cNvSpPr/>
          <p:nvPr/>
        </p:nvSpPr>
        <p:spPr>
          <a:xfrm>
            <a:off x="695325" y="1916113"/>
            <a:ext cx="1980000" cy="1980000"/>
          </a:xfrm>
          <a:prstGeom prst="ellipse">
            <a:avLst/>
          </a:prstGeom>
          <a:solidFill>
            <a:schemeClr val="accent4"/>
          </a:solidFill>
          <a:ln w="762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7E0B4CC-518E-BF46-A4C9-BB212AC92FF2}"/>
              </a:ext>
            </a:extLst>
          </p:cNvPr>
          <p:cNvSpPr/>
          <p:nvPr/>
        </p:nvSpPr>
        <p:spPr>
          <a:xfrm>
            <a:off x="2891700" y="2429305"/>
            <a:ext cx="2880000" cy="10159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>
              <a:spcAft>
                <a:spcPts val="600"/>
              </a:spcAft>
            </a:pPr>
            <a:r>
              <a:rPr lang="ru-RU" b="1" dirty="0" err="1">
                <a:solidFill>
                  <a:schemeClr val="tx1"/>
                </a:solidFill>
                <a:latin typeface="+mj-lt"/>
              </a:rPr>
              <a:t>Бабець</a:t>
            </a:r>
            <a:r>
              <a:rPr lang="ru-RU" b="1" dirty="0">
                <a:solidFill>
                  <a:schemeClr val="tx1"/>
                </a:solidFill>
                <a:latin typeface="+mj-lt"/>
              </a:rPr>
              <a:t> Олег</a:t>
            </a:r>
            <a:br>
              <a:rPr lang="ru-RU" b="1" dirty="0">
                <a:solidFill>
                  <a:schemeClr val="tx1"/>
                </a:solidFill>
                <a:latin typeface="+mj-lt"/>
              </a:rPr>
            </a:br>
            <a:r>
              <a:rPr lang="ru-RU" b="1" dirty="0" err="1">
                <a:solidFill>
                  <a:schemeClr val="tx1"/>
                </a:solidFill>
                <a:latin typeface="+mj-lt"/>
              </a:rPr>
              <a:t>Іванович</a:t>
            </a:r>
            <a:endParaRPr lang="ru-RU" b="1" dirty="0">
              <a:solidFill>
                <a:schemeClr val="tx1"/>
              </a:solidFill>
              <a:latin typeface="+mj-lt"/>
            </a:endParaRPr>
          </a:p>
          <a:p>
            <a:pPr>
              <a:spcAft>
                <a:spcPts val="600"/>
              </a:spcAft>
            </a:pPr>
            <a:r>
              <a:rPr lang="ru-RU" sz="1200" dirty="0" err="1">
                <a:solidFill>
                  <a:schemeClr val="tx1"/>
                </a:solidFill>
              </a:rPr>
              <a:t>сільський</a:t>
            </a:r>
            <a:r>
              <a:rPr lang="ru-RU" sz="1200" dirty="0">
                <a:solidFill>
                  <a:schemeClr val="tx1"/>
                </a:solidFill>
              </a:rPr>
              <a:t> голова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12D4932A-23C0-5C7D-F626-00D9D81F64F4}"/>
              </a:ext>
            </a:extLst>
          </p:cNvPr>
          <p:cNvGrpSpPr/>
          <p:nvPr/>
        </p:nvGrpSpPr>
        <p:grpSpPr>
          <a:xfrm>
            <a:off x="763352" y="2006127"/>
            <a:ext cx="1836000" cy="1836000"/>
            <a:chOff x="763352" y="1330211"/>
            <a:chExt cx="2808164" cy="2808164"/>
          </a:xfrm>
        </p:grpSpPr>
        <p:pic>
          <p:nvPicPr>
            <p:cNvPr id="4" name="Рисунок 3" descr="Изображение выглядит как человек, мужчина, темный, мужской&#10;&#10;Автоматически созданное описание">
              <a:extLst>
                <a:ext uri="{FF2B5EF4-FFF2-40B4-BE49-F238E27FC236}">
                  <a16:creationId xmlns:a16="http://schemas.microsoft.com/office/drawing/2014/main" id="{663EE203-E39D-402D-A0B5-CAEB13622E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839" t="47424" r="25856" b="25606"/>
            <a:stretch/>
          </p:blipFill>
          <p:spPr>
            <a:xfrm>
              <a:off x="763352" y="1330211"/>
              <a:ext cx="2808164" cy="2808164"/>
            </a:xfrm>
            <a:prstGeom prst="ellipse">
              <a:avLst/>
            </a:prstGeom>
          </p:spPr>
        </p:pic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5" name="Рукописный ввод 4">
                  <a:extLst>
                    <a:ext uri="{FF2B5EF4-FFF2-40B4-BE49-F238E27FC236}">
                      <a16:creationId xmlns:a16="http://schemas.microsoft.com/office/drawing/2014/main" id="{7A19E783-BC5A-D957-FB38-AC5A6C7D8067}"/>
                    </a:ext>
                  </a:extLst>
                </p14:cNvPr>
                <p14:cNvContentPartPr/>
                <p14:nvPr/>
              </p14:nvContentPartPr>
              <p14:xfrm>
                <a:off x="2643356" y="1936010"/>
                <a:ext cx="68760" cy="304920"/>
              </p14:xfrm>
            </p:contentPart>
          </mc:Choice>
          <mc:Fallback xmlns="">
            <p:pic>
              <p:nvPicPr>
                <p:cNvPr id="5" name="Рукописный ввод 4">
                  <a:extLst>
                    <a:ext uri="{FF2B5EF4-FFF2-40B4-BE49-F238E27FC236}">
                      <a16:creationId xmlns:a16="http://schemas.microsoft.com/office/drawing/2014/main" id="{7A19E783-BC5A-D957-FB38-AC5A6C7D8067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630154" y="1922250"/>
                  <a:ext cx="95714" cy="33188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8" name="Рукописный ввод 7">
                  <a:extLst>
                    <a:ext uri="{FF2B5EF4-FFF2-40B4-BE49-F238E27FC236}">
                      <a16:creationId xmlns:a16="http://schemas.microsoft.com/office/drawing/2014/main" id="{520EB1C2-4B2A-12E2-13D4-ADFEEAC95914}"/>
                    </a:ext>
                  </a:extLst>
                </p14:cNvPr>
                <p14:cNvContentPartPr/>
                <p14:nvPr/>
              </p14:nvContentPartPr>
              <p14:xfrm>
                <a:off x="2608796" y="2557010"/>
                <a:ext cx="59400" cy="139680"/>
              </p14:xfrm>
            </p:contentPart>
          </mc:Choice>
          <mc:Fallback xmlns="">
            <p:pic>
              <p:nvPicPr>
                <p:cNvPr id="8" name="Рукописный ввод 7">
                  <a:extLst>
                    <a:ext uri="{FF2B5EF4-FFF2-40B4-BE49-F238E27FC236}">
                      <a16:creationId xmlns:a16="http://schemas.microsoft.com/office/drawing/2014/main" id="{520EB1C2-4B2A-12E2-13D4-ADFEEAC95914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2595046" y="2543812"/>
                  <a:ext cx="86350" cy="166626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16" name="Рукописный ввод 15">
                  <a:extLst>
                    <a:ext uri="{FF2B5EF4-FFF2-40B4-BE49-F238E27FC236}">
                      <a16:creationId xmlns:a16="http://schemas.microsoft.com/office/drawing/2014/main" id="{50B243CB-1E10-5ADD-3754-E5304AC7E51F}"/>
                    </a:ext>
                  </a:extLst>
                </p14:cNvPr>
                <p14:cNvContentPartPr/>
                <p14:nvPr/>
              </p14:nvContentPartPr>
              <p14:xfrm>
                <a:off x="2663156" y="2230490"/>
                <a:ext cx="110520" cy="167400"/>
              </p14:xfrm>
            </p:contentPart>
          </mc:Choice>
          <mc:Fallback xmlns="">
            <p:pic>
              <p:nvPicPr>
                <p:cNvPr id="16" name="Рукописный ввод 15">
                  <a:extLst>
                    <a:ext uri="{FF2B5EF4-FFF2-40B4-BE49-F238E27FC236}">
                      <a16:creationId xmlns:a16="http://schemas.microsoft.com/office/drawing/2014/main" id="{50B243CB-1E10-5ADD-3754-E5304AC7E51F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2649410" y="2216724"/>
                  <a:ext cx="137463" cy="194382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37799B05-66E2-F0E1-A127-E52C075C9CCF}"/>
              </a:ext>
            </a:extLst>
          </p:cNvPr>
          <p:cNvSpPr txBox="1"/>
          <p:nvPr/>
        </p:nvSpPr>
        <p:spPr>
          <a:xfrm>
            <a:off x="695326" y="6308725"/>
            <a:ext cx="7077074" cy="247939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900" i="1" dirty="0"/>
              <a:t>* Наразі формується команда представників проєкту, які будуть залучені до оцінки рішень</a:t>
            </a:r>
            <a:endParaRPr lang="en-US" sz="900" i="1" dirty="0"/>
          </a:p>
        </p:txBody>
      </p:sp>
      <p:pic>
        <p:nvPicPr>
          <p:cNvPr id="20" name="Picture 2" descr="Check Mark Button on Apple iOS 15.4">
            <a:extLst>
              <a:ext uri="{FF2B5EF4-FFF2-40B4-BE49-F238E27FC236}">
                <a16:creationId xmlns:a16="http://schemas.microsoft.com/office/drawing/2014/main" id="{D9E12EFD-715F-C807-524E-9613CCEBBB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63495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904055A-0CE8-7647-DDD9-D9159DE32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900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D904055A-0CE8-7647-DDD9-D9159DE32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13F4CD59-AA6F-C9E4-BC42-3D85599E5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uk-UA" dirty="0"/>
              <a:t>Для чого вам брати участь у кейс-чемпіонаті </a:t>
            </a:r>
            <a:r>
              <a:rPr lang="en-US" dirty="0"/>
              <a:t>Ukraine Recovery Case Championship?</a:t>
            </a:r>
            <a:endParaRPr lang="ru-RU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1A63AF0-60B6-7468-B614-603C6B987153}"/>
              </a:ext>
            </a:extLst>
          </p:cNvPr>
          <p:cNvSpPr txBox="1"/>
          <p:nvPr/>
        </p:nvSpPr>
        <p:spPr>
          <a:xfrm>
            <a:off x="695324" y="1916113"/>
            <a:ext cx="1800000" cy="421919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sz="1000" dirty="0">
                <a:latin typeface="+mj-lt"/>
              </a:rPr>
              <a:t>15 </a:t>
            </a:r>
            <a:r>
              <a:rPr lang="uk-UA" sz="1000" dirty="0">
                <a:latin typeface="+mj-lt"/>
              </a:rPr>
              <a:t>вересня</a:t>
            </a:r>
          </a:p>
          <a:p>
            <a:pPr>
              <a:spcAft>
                <a:spcPts val="600"/>
              </a:spcAft>
            </a:pPr>
            <a:r>
              <a:rPr lang="uk-UA" sz="1000" dirty="0"/>
              <a:t>Початок реєстрації на</a:t>
            </a:r>
            <a:br>
              <a:rPr lang="uk-UA" sz="1000" dirty="0"/>
            </a:br>
            <a:r>
              <a:rPr lang="uk-UA" sz="1000" dirty="0"/>
              <a:t>кейс-чемпіонат</a:t>
            </a:r>
            <a:endParaRPr lang="en-US" sz="10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D52874B-D28A-9AD0-3874-EF7B1C7A936D}"/>
              </a:ext>
            </a:extLst>
          </p:cNvPr>
          <p:cNvSpPr txBox="1"/>
          <p:nvPr/>
        </p:nvSpPr>
        <p:spPr>
          <a:xfrm>
            <a:off x="3385425" y="1916113"/>
            <a:ext cx="1800000" cy="421919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uk-UA" sz="1000" dirty="0">
                <a:latin typeface="+mj-lt"/>
              </a:rPr>
              <a:t>16</a:t>
            </a:r>
            <a:r>
              <a:rPr lang="en-US" sz="1000" dirty="0">
                <a:latin typeface="+mj-lt"/>
              </a:rPr>
              <a:t> </a:t>
            </a:r>
            <a:r>
              <a:rPr lang="uk-UA" sz="1000" dirty="0">
                <a:latin typeface="+mj-lt"/>
              </a:rPr>
              <a:t>жовтня</a:t>
            </a:r>
          </a:p>
          <a:p>
            <a:pPr>
              <a:spcAft>
                <a:spcPts val="600"/>
              </a:spcAft>
            </a:pPr>
            <a:r>
              <a:rPr lang="uk-UA" sz="1000" dirty="0"/>
              <a:t>Дедлайн подачі рішень</a:t>
            </a:r>
            <a:endParaRPr lang="en-US" sz="10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489A446-DB13-ACD1-D1AE-5980A67F9CAB}"/>
              </a:ext>
            </a:extLst>
          </p:cNvPr>
          <p:cNvSpPr txBox="1"/>
          <p:nvPr/>
        </p:nvSpPr>
        <p:spPr>
          <a:xfrm>
            <a:off x="6075525" y="1916113"/>
            <a:ext cx="1800000" cy="421919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uk-UA" sz="1000" dirty="0">
                <a:latin typeface="+mj-lt"/>
              </a:rPr>
              <a:t>29</a:t>
            </a:r>
            <a:r>
              <a:rPr lang="en-US" sz="1000" dirty="0">
                <a:latin typeface="+mj-lt"/>
              </a:rPr>
              <a:t> </a:t>
            </a:r>
            <a:r>
              <a:rPr lang="uk-UA" sz="1000" dirty="0">
                <a:latin typeface="+mj-lt"/>
              </a:rPr>
              <a:t>жовтня</a:t>
            </a:r>
          </a:p>
          <a:p>
            <a:pPr>
              <a:spcAft>
                <a:spcPts val="600"/>
              </a:spcAft>
            </a:pPr>
            <a:r>
              <a:rPr lang="uk-UA" sz="1000" dirty="0"/>
              <a:t>Фінал кейс-чемпіонату</a:t>
            </a:r>
            <a:endParaRPr lang="en-US" sz="10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9C7DA37-82FB-E753-759E-F22A7551222A}"/>
              </a:ext>
            </a:extLst>
          </p:cNvPr>
          <p:cNvSpPr txBox="1"/>
          <p:nvPr/>
        </p:nvSpPr>
        <p:spPr>
          <a:xfrm>
            <a:off x="8765625" y="1916113"/>
            <a:ext cx="1800000" cy="421919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uk-UA" sz="1000" dirty="0">
                <a:latin typeface="+mj-lt"/>
              </a:rPr>
              <a:t>1</a:t>
            </a:r>
            <a:r>
              <a:rPr lang="en-US" sz="1000" dirty="0">
                <a:latin typeface="+mj-lt"/>
              </a:rPr>
              <a:t> </a:t>
            </a:r>
            <a:r>
              <a:rPr lang="uk-UA" sz="1000" dirty="0">
                <a:latin typeface="+mj-lt"/>
              </a:rPr>
              <a:t>листопада</a:t>
            </a:r>
          </a:p>
          <a:p>
            <a:pPr>
              <a:spcAft>
                <a:spcPts val="600"/>
              </a:spcAft>
            </a:pPr>
            <a:r>
              <a:rPr lang="uk-UA" sz="1000" dirty="0"/>
              <a:t>Початок курсу тренінгів про підготовку грантових заявок</a:t>
            </a:r>
            <a:endParaRPr lang="en-US" sz="1000" dirty="0"/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CD50A92-1105-791C-6379-518C39874058}"/>
              </a:ext>
            </a:extLst>
          </p:cNvPr>
          <p:cNvSpPr/>
          <p:nvPr/>
        </p:nvSpPr>
        <p:spPr>
          <a:xfrm flipH="1">
            <a:off x="906375" y="3564082"/>
            <a:ext cx="2520000" cy="361519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216000" rtlCol="0" anchor="t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Ви зможете обрати один з</a:t>
            </a:r>
            <a:br>
              <a:rPr lang="uk-UA" sz="1000" dirty="0">
                <a:solidFill>
                  <a:schemeClr val="tx1"/>
                </a:solidFill>
              </a:rPr>
            </a:br>
            <a:r>
              <a:rPr lang="uk-UA" sz="1000" dirty="0">
                <a:solidFill>
                  <a:schemeClr val="tx1"/>
                </a:solidFill>
              </a:rPr>
              <a:t>5 цікавих кейсів від громад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Ментори проєкту будуть проводити консультації та індивідуально допомагатимуть вам покращити рішення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Ви навчитеся аналізувати проблеми громад та готувати фантастичні презентації. Ці знання будуть дуже корисними для вашого подальшого професійного розвитку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177B590-F5DB-3260-3B8D-F6D06629E44D}"/>
              </a:ext>
            </a:extLst>
          </p:cNvPr>
          <p:cNvSpPr txBox="1"/>
          <p:nvPr/>
        </p:nvSpPr>
        <p:spPr>
          <a:xfrm>
            <a:off x="1086375" y="2788950"/>
            <a:ext cx="2160000" cy="421919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lang="uk-UA" sz="1000" i="1" dirty="0"/>
              <a:t>У цей час ви готуєте презентації ваших рішень</a:t>
            </a:r>
            <a:endParaRPr lang="en-US" sz="1000" i="1" dirty="0"/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5591C9DA-6331-C274-BBFE-BE52F97CA8C3}"/>
              </a:ext>
            </a:extLst>
          </p:cNvPr>
          <p:cNvGrpSpPr/>
          <p:nvPr/>
        </p:nvGrpSpPr>
        <p:grpSpPr>
          <a:xfrm>
            <a:off x="695325" y="2496570"/>
            <a:ext cx="10801350" cy="252000"/>
            <a:chOff x="695325" y="2340706"/>
            <a:chExt cx="10801350" cy="252000"/>
          </a:xfrm>
        </p:grpSpPr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A4A9CC4E-11B2-44B0-4867-A8408CC5F1A7}"/>
                </a:ext>
              </a:extLst>
            </p:cNvPr>
            <p:cNvCxnSpPr>
              <a:cxnSpLocks/>
            </p:cNvCxnSpPr>
            <p:nvPr/>
          </p:nvCxnSpPr>
          <p:spPr>
            <a:xfrm>
              <a:off x="695325" y="2466439"/>
              <a:ext cx="10801350" cy="0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80ABEF07-A1AA-C83A-854D-54C247A97B68}"/>
                </a:ext>
              </a:extLst>
            </p:cNvPr>
            <p:cNvSpPr/>
            <p:nvPr/>
          </p:nvSpPr>
          <p:spPr>
            <a:xfrm>
              <a:off x="695325" y="2340706"/>
              <a:ext cx="252000" cy="252000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36000" rtlCol="0" anchor="ctr"/>
            <a:lstStyle/>
            <a:p>
              <a:pPr algn="ctr"/>
              <a:endParaRPr lang="ru-RU" sz="1400" dirty="0">
                <a:latin typeface="+mj-lt"/>
              </a:endParaRPr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AE1CC3C7-227D-253E-FC9A-F07B6E63B217}"/>
                </a:ext>
              </a:extLst>
            </p:cNvPr>
            <p:cNvSpPr/>
            <p:nvPr/>
          </p:nvSpPr>
          <p:spPr>
            <a:xfrm>
              <a:off x="3385425" y="2340706"/>
              <a:ext cx="252000" cy="252000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36000" rtlCol="0" anchor="ctr"/>
            <a:lstStyle/>
            <a:p>
              <a:pPr algn="ctr"/>
              <a:endParaRPr lang="ru-RU" sz="1400" dirty="0">
                <a:latin typeface="+mj-lt"/>
              </a:endParaRPr>
            </a:p>
          </p:txBody>
        </p:sp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A20B2385-D851-650A-65CC-13620AE74E1D}"/>
                </a:ext>
              </a:extLst>
            </p:cNvPr>
            <p:cNvSpPr/>
            <p:nvPr/>
          </p:nvSpPr>
          <p:spPr>
            <a:xfrm>
              <a:off x="6075525" y="2340706"/>
              <a:ext cx="252000" cy="252000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36000" rtlCol="0" anchor="ctr"/>
            <a:lstStyle/>
            <a:p>
              <a:pPr algn="ctr"/>
              <a:endParaRPr lang="ru-RU" sz="1400" dirty="0">
                <a:latin typeface="+mj-lt"/>
              </a:endParaRPr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810D6FAD-0F28-02B5-730A-DE557C48CBB2}"/>
                </a:ext>
              </a:extLst>
            </p:cNvPr>
            <p:cNvSpPr/>
            <p:nvPr/>
          </p:nvSpPr>
          <p:spPr>
            <a:xfrm>
              <a:off x="8765625" y="2340706"/>
              <a:ext cx="252000" cy="252000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36000" rtlCol="0" anchor="ctr"/>
            <a:lstStyle/>
            <a:p>
              <a:pPr algn="ctr"/>
              <a:endParaRPr lang="ru-RU" sz="1400" dirty="0">
                <a:latin typeface="+mj-lt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1B5D29E7-247B-DC73-8AFD-664670AAFC04}"/>
              </a:ext>
            </a:extLst>
          </p:cNvPr>
          <p:cNvSpPr txBox="1"/>
          <p:nvPr/>
        </p:nvSpPr>
        <p:spPr>
          <a:xfrm>
            <a:off x="3776475" y="2788950"/>
            <a:ext cx="2160000" cy="421919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lang="uk-UA" sz="1000" i="1" dirty="0"/>
              <a:t>У цей час ви отримаєте детальний фідбек про ваші рішення та дізнаєтесь імена фіналістів</a:t>
            </a:r>
            <a:endParaRPr lang="en-US" sz="1000" i="1" dirty="0"/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3832C2B4-560F-A9ED-7357-57E81A119B0D}"/>
              </a:ext>
            </a:extLst>
          </p:cNvPr>
          <p:cNvSpPr/>
          <p:nvPr/>
        </p:nvSpPr>
        <p:spPr>
          <a:xfrm flipH="1">
            <a:off x="3596475" y="3564082"/>
            <a:ext cx="2520000" cy="361519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216000" rtlCol="0" anchor="t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Ментори проєкту проаналізують всі рішення, </a:t>
            </a:r>
            <a:r>
              <a:rPr lang="uk-UA" sz="1000" dirty="0" err="1">
                <a:solidFill>
                  <a:schemeClr val="tx1"/>
                </a:solidFill>
              </a:rPr>
              <a:t>оцінять</a:t>
            </a:r>
            <a:r>
              <a:rPr lang="uk-UA" sz="1000" dirty="0">
                <a:solidFill>
                  <a:schemeClr val="tx1"/>
                </a:solidFill>
              </a:rPr>
              <a:t> їх та </a:t>
            </a:r>
            <a:r>
              <a:rPr lang="uk-UA" sz="1000" dirty="0" err="1">
                <a:solidFill>
                  <a:schemeClr val="tx1"/>
                </a:solidFill>
              </a:rPr>
              <a:t>оберуть</a:t>
            </a:r>
            <a:r>
              <a:rPr lang="uk-UA" sz="1000" dirty="0">
                <a:solidFill>
                  <a:schemeClr val="tx1"/>
                </a:solidFill>
              </a:rPr>
              <a:t> фіналістів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Команди, які не пройшли у фінал, отримають детальний зворотній зв’язок та рекомендації, щоб краще показати себе на наступних кейс-чемпіонатах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Команди, які пройшли у фінал, отримають поради для покращення їх рішень та рекомендації щодо виступу на фіналі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0CFF63B-E0F5-2815-6EB9-283346D8795E}"/>
              </a:ext>
            </a:extLst>
          </p:cNvPr>
          <p:cNvSpPr txBox="1"/>
          <p:nvPr/>
        </p:nvSpPr>
        <p:spPr>
          <a:xfrm>
            <a:off x="6466575" y="2788950"/>
            <a:ext cx="2160000" cy="421919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lang="uk-UA" sz="1000" i="1" dirty="0"/>
              <a:t>У цей час фіналісти отримують детальний фідбек про їхні рішення та виступи</a:t>
            </a:r>
            <a:endParaRPr lang="en-US" sz="1000" i="1" dirty="0"/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47C0583B-8BA9-5426-CA64-B933F2296C7F}"/>
              </a:ext>
            </a:extLst>
          </p:cNvPr>
          <p:cNvSpPr/>
          <p:nvPr/>
        </p:nvSpPr>
        <p:spPr>
          <a:xfrm flipH="1">
            <a:off x="6286575" y="3564082"/>
            <a:ext cx="2520000" cy="361519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216000" rtlCol="0" anchor="t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Фінал буде проходити </a:t>
            </a:r>
            <a:r>
              <a:rPr lang="uk-UA" sz="1000" dirty="0" err="1">
                <a:solidFill>
                  <a:schemeClr val="tx1"/>
                </a:solidFill>
              </a:rPr>
              <a:t>офлайн</a:t>
            </a:r>
            <a:r>
              <a:rPr lang="uk-UA" sz="1000" dirty="0">
                <a:solidFill>
                  <a:schemeClr val="tx1"/>
                </a:solidFill>
              </a:rPr>
              <a:t> у місті Києві (витрати на проїзд та проживання компенсує проєкт), тож фіналісти зможуть познайомитися між собою та встановити корисні контакти з менторами проєкту та представниками громад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Фіналісти та переможці отримають корисні призи від проєкту та громад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Після фіналу кожна команда отримає детальний фідбек та рекомендації щодо наступних кроків у кейс-чемпіонатах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AEF2ADD-8DFB-E5F9-37B9-774639886594}"/>
              </a:ext>
            </a:extLst>
          </p:cNvPr>
          <p:cNvSpPr txBox="1"/>
          <p:nvPr/>
        </p:nvSpPr>
        <p:spPr>
          <a:xfrm>
            <a:off x="9156675" y="2788950"/>
            <a:ext cx="2160000" cy="421919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lang="uk-UA" sz="1000" i="1" dirty="0"/>
              <a:t>У цей час переможці зможуть підготувати грантову заявку їхнього проєкту</a:t>
            </a:r>
            <a:endParaRPr lang="en-US" sz="1000" i="1" dirty="0"/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9B4BB55A-C766-40B7-31BA-3F4601790D95}"/>
              </a:ext>
            </a:extLst>
          </p:cNvPr>
          <p:cNvSpPr/>
          <p:nvPr/>
        </p:nvSpPr>
        <p:spPr>
          <a:xfrm flipH="1">
            <a:off x="8976675" y="3564082"/>
            <a:ext cx="2520000" cy="361519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bIns="216000" rtlCol="0" anchor="t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Переможці кейс-чемпіонату пройдуть курс тренінгів про підготовку грантових заявок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Команда проєкту допоможе доопрацювати рішення, презентоване на фіналі, перетворити його на грантову заявку та подати заявку на залучення грантових коштів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00" dirty="0">
                <a:solidFill>
                  <a:schemeClr val="tx1"/>
                </a:solidFill>
              </a:rPr>
              <a:t>Переможці потенційно зможуть отримати фінансування на реалізацію їхнього проєкту разом з громадами</a:t>
            </a:r>
          </a:p>
        </p:txBody>
      </p:sp>
      <p:pic>
        <p:nvPicPr>
          <p:cNvPr id="5" name="Picture 2" descr="Check Mark Button on Apple iOS 15.4">
            <a:extLst>
              <a:ext uri="{FF2B5EF4-FFF2-40B4-BE49-F238E27FC236}">
                <a16:creationId xmlns:a16="http://schemas.microsoft.com/office/drawing/2014/main" id="{C96FED1B-A544-BEA4-ED25-BB032B249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24824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B653CE-F36B-F172-D6FB-FDD8CEB8B4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600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B653CE-F36B-F172-D6FB-FDD8CEB8B4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78B3F8-9855-9F7A-5141-EF78BE550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uk-UA" dirty="0"/>
              <a:t>Що далі?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A3448A9F-0516-CCD2-5058-56C9DEB71641}"/>
              </a:ext>
            </a:extLst>
          </p:cNvPr>
          <p:cNvSpPr/>
          <p:nvPr/>
        </p:nvSpPr>
        <p:spPr>
          <a:xfrm flipH="1">
            <a:off x="695324" y="1916112"/>
            <a:ext cx="6582297" cy="1080000"/>
          </a:xfrm>
          <a:prstGeom prst="roundRect">
            <a:avLst>
              <a:gd name="adj" fmla="val 21226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0" bIns="108000" rtlCol="0" anchor="ctr"/>
          <a:lstStyle/>
          <a:p>
            <a:pPr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Якщо сподобався кейс і ти хочеш його розв’язувати </a:t>
            </a:r>
            <a:r>
              <a:rPr lang="en-US" sz="1600" dirty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</a:t>
            </a:r>
            <a:r>
              <a:rPr lang="uk-UA" sz="1600" dirty="0">
                <a:solidFill>
                  <a:schemeClr val="tx2"/>
                </a:solidFill>
                <a:latin typeface="+mj-lt"/>
              </a:rPr>
              <a:t> </a:t>
            </a:r>
            <a:r>
              <a:rPr lang="uk-UA" sz="1600" dirty="0">
                <a:solidFill>
                  <a:schemeClr val="tx2"/>
                </a:solidFill>
              </a:rPr>
              <a:t>реєструйся за посиланням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3695249A-6692-9FF5-DEBE-B20EEF9D981F}"/>
              </a:ext>
            </a:extLst>
          </p:cNvPr>
          <p:cNvSpPr/>
          <p:nvPr/>
        </p:nvSpPr>
        <p:spPr>
          <a:xfrm flipH="1">
            <a:off x="695324" y="3287712"/>
            <a:ext cx="6582297" cy="1080000"/>
          </a:xfrm>
          <a:prstGeom prst="roundRect">
            <a:avLst>
              <a:gd name="adj" fmla="val 21226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0" bIns="108000" rtlCol="0" anchor="ctr"/>
          <a:lstStyle/>
          <a:p>
            <a:pPr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Якщо хочеш почитати ще й інші кейси </a:t>
            </a:r>
            <a:r>
              <a:rPr lang="uk-UA" sz="1600" dirty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</a:t>
            </a:r>
            <a:br>
              <a:rPr lang="uk-UA" sz="1600" dirty="0">
                <a:solidFill>
                  <a:schemeClr val="tx2"/>
                </a:solidFill>
                <a:latin typeface="+mj-lt"/>
              </a:rPr>
            </a:br>
            <a:r>
              <a:rPr lang="uk-UA" sz="1600" dirty="0">
                <a:solidFill>
                  <a:schemeClr val="tx2"/>
                </a:solidFill>
              </a:rPr>
              <a:t>переходь на сторінку кейс-чемпіонату на сайті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DDBF5830-1672-B452-158B-AE3634102954}"/>
              </a:ext>
            </a:extLst>
          </p:cNvPr>
          <p:cNvSpPr/>
          <p:nvPr/>
        </p:nvSpPr>
        <p:spPr>
          <a:xfrm flipH="1">
            <a:off x="695324" y="4648921"/>
            <a:ext cx="6582297" cy="1080000"/>
          </a:xfrm>
          <a:prstGeom prst="roundRect">
            <a:avLst>
              <a:gd name="adj" fmla="val 21226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0" bIns="108000" rtlCol="0" anchor="ctr"/>
          <a:lstStyle/>
          <a:p>
            <a:pPr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Якщо не хочеш пропустити новини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 </a:t>
            </a:r>
            <a:r>
              <a:rPr lang="uk-UA" sz="1600" dirty="0">
                <a:solidFill>
                  <a:schemeClr val="tx2"/>
                </a:solidFill>
                <a:latin typeface="+mj-lt"/>
              </a:rPr>
              <a:t>кейс-чемпіонату </a:t>
            </a:r>
            <a:br>
              <a:rPr lang="en-US" sz="1600" dirty="0">
                <a:solidFill>
                  <a:schemeClr val="tx2"/>
                </a:solidFill>
                <a:latin typeface="+mj-lt"/>
              </a:rPr>
            </a:br>
            <a:r>
              <a:rPr lang="uk-UA" sz="1600" dirty="0">
                <a:solidFill>
                  <a:schemeClr val="tx2"/>
                </a:solidFill>
                <a:latin typeface="+mj-lt"/>
              </a:rPr>
              <a:t>та отримати підказки від менторів </a:t>
            </a:r>
            <a:r>
              <a:rPr lang="en-US" sz="1600" dirty="0">
                <a:solidFill>
                  <a:schemeClr val="accent2"/>
                </a:solidFill>
                <a:latin typeface="+mj-lt"/>
                <a:sym typeface="Wingdings" panose="05000000000000000000" pitchFamily="2" charset="2"/>
              </a:rPr>
              <a:t></a:t>
            </a:r>
            <a:r>
              <a:rPr lang="uk-UA" sz="1600" dirty="0">
                <a:solidFill>
                  <a:schemeClr val="tx2"/>
                </a:solidFill>
                <a:latin typeface="+mj-lt"/>
              </a:rPr>
              <a:t> </a:t>
            </a:r>
            <a:br>
              <a:rPr lang="en-US" sz="1600" dirty="0">
                <a:solidFill>
                  <a:schemeClr val="tx2"/>
                </a:solidFill>
                <a:latin typeface="+mj-lt"/>
              </a:rPr>
            </a:br>
            <a:r>
              <a:rPr lang="uk-UA" sz="1600" dirty="0">
                <a:solidFill>
                  <a:schemeClr val="tx2"/>
                </a:solidFill>
              </a:rPr>
              <a:t>долучайся до телеграм бесіди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22" name="Прямоугольник: скругленные углы 21">
            <a:hlinkClick r:id="rId5"/>
            <a:extLst>
              <a:ext uri="{FF2B5EF4-FFF2-40B4-BE49-F238E27FC236}">
                <a16:creationId xmlns:a16="http://schemas.microsoft.com/office/drawing/2014/main" id="{99ABD460-2E8F-CFA8-8A46-F309FE4ABC07}"/>
              </a:ext>
            </a:extLst>
          </p:cNvPr>
          <p:cNvSpPr/>
          <p:nvPr/>
        </p:nvSpPr>
        <p:spPr>
          <a:xfrm>
            <a:off x="9518073" y="2096112"/>
            <a:ext cx="1776192" cy="720000"/>
          </a:xfrm>
          <a:prstGeom prst="roundRect">
            <a:avLst>
              <a:gd name="adj" fmla="val 3412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>
                <a:latin typeface="+mj-lt"/>
              </a:rPr>
              <a:t>Посилання</a:t>
            </a:r>
          </a:p>
        </p:txBody>
      </p:sp>
      <p:sp>
        <p:nvSpPr>
          <p:cNvPr id="23" name="Прямоугольник: скругленные углы 22">
            <a:hlinkClick r:id="rId6"/>
            <a:extLst>
              <a:ext uri="{FF2B5EF4-FFF2-40B4-BE49-F238E27FC236}">
                <a16:creationId xmlns:a16="http://schemas.microsoft.com/office/drawing/2014/main" id="{F23A3346-0D08-FE67-6BCE-6BA5664C52CF}"/>
              </a:ext>
            </a:extLst>
          </p:cNvPr>
          <p:cNvSpPr/>
          <p:nvPr/>
        </p:nvSpPr>
        <p:spPr>
          <a:xfrm>
            <a:off x="9518073" y="3467712"/>
            <a:ext cx="1776192" cy="720000"/>
          </a:xfrm>
          <a:prstGeom prst="roundRect">
            <a:avLst>
              <a:gd name="adj" fmla="val 3412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>
                <a:latin typeface="+mj-lt"/>
              </a:rPr>
              <a:t>Посилання</a:t>
            </a:r>
          </a:p>
        </p:txBody>
      </p:sp>
      <p:sp>
        <p:nvSpPr>
          <p:cNvPr id="24" name="Прямоугольник: скругленные углы 23">
            <a:hlinkClick r:id="rId7"/>
            <a:extLst>
              <a:ext uri="{FF2B5EF4-FFF2-40B4-BE49-F238E27FC236}">
                <a16:creationId xmlns:a16="http://schemas.microsoft.com/office/drawing/2014/main" id="{97F46161-2D1F-CD53-B2D8-B84AE5F48D24}"/>
              </a:ext>
            </a:extLst>
          </p:cNvPr>
          <p:cNvSpPr/>
          <p:nvPr/>
        </p:nvSpPr>
        <p:spPr>
          <a:xfrm>
            <a:off x="9518073" y="4828921"/>
            <a:ext cx="1776192" cy="720000"/>
          </a:xfrm>
          <a:prstGeom prst="roundRect">
            <a:avLst>
              <a:gd name="adj" fmla="val 3412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>
                <a:latin typeface="+mj-lt"/>
              </a:rPr>
              <a:t>Посилання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3" name="Рукописный ввод 2">
                <a:extLst>
                  <a:ext uri="{FF2B5EF4-FFF2-40B4-BE49-F238E27FC236}">
                    <a16:creationId xmlns:a16="http://schemas.microsoft.com/office/drawing/2014/main" id="{6817C149-AB4F-C8F6-AA5C-D6D05AD3BA66}"/>
                  </a:ext>
                </a:extLst>
              </p14:cNvPr>
              <p14:cNvContentPartPr/>
              <p14:nvPr/>
            </p14:nvContentPartPr>
            <p14:xfrm>
              <a:off x="7575540" y="2313900"/>
              <a:ext cx="1486080" cy="220680"/>
            </p14:xfrm>
          </p:contentPart>
        </mc:Choice>
        <mc:Fallback xmlns="">
          <p:pic>
            <p:nvPicPr>
              <p:cNvPr id="3" name="Рукописный ввод 2">
                <a:extLst>
                  <a:ext uri="{FF2B5EF4-FFF2-40B4-BE49-F238E27FC236}">
                    <a16:creationId xmlns:a16="http://schemas.microsoft.com/office/drawing/2014/main" id="{6817C149-AB4F-C8F6-AA5C-D6D05AD3BA66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566900" y="2305260"/>
                <a:ext cx="1503720" cy="2383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5" name="Рукописный ввод 4">
                <a:extLst>
                  <a:ext uri="{FF2B5EF4-FFF2-40B4-BE49-F238E27FC236}">
                    <a16:creationId xmlns:a16="http://schemas.microsoft.com/office/drawing/2014/main" id="{F5CAA52E-AC2F-35DF-D43A-943E046BE338}"/>
                  </a:ext>
                </a:extLst>
              </p14:cNvPr>
              <p14:cNvContentPartPr/>
              <p14:nvPr/>
            </p14:nvContentPartPr>
            <p14:xfrm>
              <a:off x="8756340" y="2268180"/>
              <a:ext cx="483480" cy="258840"/>
            </p14:xfrm>
          </p:contentPart>
        </mc:Choice>
        <mc:Fallback xmlns="">
          <p:pic>
            <p:nvPicPr>
              <p:cNvPr id="5" name="Рукописный ввод 4">
                <a:extLst>
                  <a:ext uri="{FF2B5EF4-FFF2-40B4-BE49-F238E27FC236}">
                    <a16:creationId xmlns:a16="http://schemas.microsoft.com/office/drawing/2014/main" id="{F5CAA52E-AC2F-35DF-D43A-943E046BE338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747700" y="2259540"/>
                <a:ext cx="501120" cy="276480"/>
              </a:xfrm>
              <a:prstGeom prst="rect">
                <a:avLst/>
              </a:prstGeom>
            </p:spPr>
          </p:pic>
        </mc:Fallback>
      </mc:AlternateContent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154FC2C6-E98D-70F7-CC45-6BA09D7072C2}"/>
              </a:ext>
            </a:extLst>
          </p:cNvPr>
          <p:cNvGrpSpPr/>
          <p:nvPr/>
        </p:nvGrpSpPr>
        <p:grpSpPr>
          <a:xfrm>
            <a:off x="7638180" y="3738420"/>
            <a:ext cx="1689480" cy="463320"/>
            <a:chOff x="7638180" y="3738420"/>
            <a:chExt cx="1689480" cy="4633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2">
              <p14:nvContentPartPr>
                <p14:cNvPr id="9" name="Рукописный ввод 8">
                  <a:extLst>
                    <a:ext uri="{FF2B5EF4-FFF2-40B4-BE49-F238E27FC236}">
                      <a16:creationId xmlns:a16="http://schemas.microsoft.com/office/drawing/2014/main" id="{93212486-DE89-FA18-0611-7532FA8B67F9}"/>
                    </a:ext>
                  </a:extLst>
                </p14:cNvPr>
                <p14:cNvContentPartPr/>
                <p14:nvPr/>
              </p14:nvContentPartPr>
              <p14:xfrm>
                <a:off x="7638180" y="3874500"/>
                <a:ext cx="1486080" cy="178200"/>
              </p14:xfrm>
            </p:contentPart>
          </mc:Choice>
          <mc:Fallback xmlns="">
            <p:pic>
              <p:nvPicPr>
                <p:cNvPr id="9" name="Рукописный ввод 8">
                  <a:extLst>
                    <a:ext uri="{FF2B5EF4-FFF2-40B4-BE49-F238E27FC236}">
                      <a16:creationId xmlns:a16="http://schemas.microsoft.com/office/drawing/2014/main" id="{93212486-DE89-FA18-0611-7532FA8B67F9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7629180" y="3865500"/>
                  <a:ext cx="1503720" cy="1958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4">
              <p14:nvContentPartPr>
                <p14:cNvPr id="10" name="Рукописный ввод 9">
                  <a:extLst>
                    <a:ext uri="{FF2B5EF4-FFF2-40B4-BE49-F238E27FC236}">
                      <a16:creationId xmlns:a16="http://schemas.microsoft.com/office/drawing/2014/main" id="{D709A82D-F690-58E3-AAF7-4FCCFEC832DA}"/>
                    </a:ext>
                  </a:extLst>
                </p14:cNvPr>
                <p14:cNvContentPartPr/>
                <p14:nvPr/>
              </p14:nvContentPartPr>
              <p14:xfrm>
                <a:off x="8756340" y="3738420"/>
                <a:ext cx="571320" cy="463320"/>
              </p14:xfrm>
            </p:contentPart>
          </mc:Choice>
          <mc:Fallback xmlns="">
            <p:pic>
              <p:nvPicPr>
                <p:cNvPr id="10" name="Рукописный ввод 9">
                  <a:extLst>
                    <a:ext uri="{FF2B5EF4-FFF2-40B4-BE49-F238E27FC236}">
                      <a16:creationId xmlns:a16="http://schemas.microsoft.com/office/drawing/2014/main" id="{D709A82D-F690-58E3-AAF7-4FCCFEC832DA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8747700" y="3729420"/>
                  <a:ext cx="588960" cy="4809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CA08EF0D-D833-D0FC-756D-0EF89832DDD0}"/>
              </a:ext>
            </a:extLst>
          </p:cNvPr>
          <p:cNvGrpSpPr/>
          <p:nvPr/>
        </p:nvGrpSpPr>
        <p:grpSpPr>
          <a:xfrm>
            <a:off x="7674900" y="4890420"/>
            <a:ext cx="1561680" cy="480960"/>
            <a:chOff x="7674900" y="4890420"/>
            <a:chExt cx="1561680" cy="4809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6">
              <p14:nvContentPartPr>
                <p14:cNvPr id="15" name="Рукописный ввод 14">
                  <a:extLst>
                    <a:ext uri="{FF2B5EF4-FFF2-40B4-BE49-F238E27FC236}">
                      <a16:creationId xmlns:a16="http://schemas.microsoft.com/office/drawing/2014/main" id="{82749613-0205-7DA2-29A1-5C8E0A0AA211}"/>
                    </a:ext>
                  </a:extLst>
                </p14:cNvPr>
                <p14:cNvContentPartPr/>
                <p14:nvPr/>
              </p14:nvContentPartPr>
              <p14:xfrm>
                <a:off x="7674900" y="5117940"/>
                <a:ext cx="1423800" cy="253440"/>
              </p14:xfrm>
            </p:contentPart>
          </mc:Choice>
          <mc:Fallback xmlns="">
            <p:pic>
              <p:nvPicPr>
                <p:cNvPr id="15" name="Рукописный ввод 14">
                  <a:extLst>
                    <a:ext uri="{FF2B5EF4-FFF2-40B4-BE49-F238E27FC236}">
                      <a16:creationId xmlns:a16="http://schemas.microsoft.com/office/drawing/2014/main" id="{82749613-0205-7DA2-29A1-5C8E0A0AA211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7665900" y="5109300"/>
                  <a:ext cx="1441440" cy="271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8">
              <p14:nvContentPartPr>
                <p14:cNvPr id="16" name="Рукописный ввод 15">
                  <a:extLst>
                    <a:ext uri="{FF2B5EF4-FFF2-40B4-BE49-F238E27FC236}">
                      <a16:creationId xmlns:a16="http://schemas.microsoft.com/office/drawing/2014/main" id="{928D7400-86EF-D3D8-9788-B91C4660B9D1}"/>
                    </a:ext>
                  </a:extLst>
                </p14:cNvPr>
                <p14:cNvContentPartPr/>
                <p14:nvPr/>
              </p14:nvContentPartPr>
              <p14:xfrm>
                <a:off x="8903580" y="4890420"/>
                <a:ext cx="333000" cy="403920"/>
              </p14:xfrm>
            </p:contentPart>
          </mc:Choice>
          <mc:Fallback xmlns="">
            <p:pic>
              <p:nvPicPr>
                <p:cNvPr id="16" name="Рукописный ввод 15">
                  <a:extLst>
                    <a:ext uri="{FF2B5EF4-FFF2-40B4-BE49-F238E27FC236}">
                      <a16:creationId xmlns:a16="http://schemas.microsoft.com/office/drawing/2014/main" id="{928D7400-86EF-D3D8-9788-B91C4660B9D1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8894940" y="4881420"/>
                  <a:ext cx="350640" cy="42156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7" name="Picture 2" descr="Check Mark Button on Apple iOS 15.4">
            <a:extLst>
              <a:ext uri="{FF2B5EF4-FFF2-40B4-BE49-F238E27FC236}">
                <a16:creationId xmlns:a16="http://schemas.microsoft.com/office/drawing/2014/main" id="{7F1972C1-3937-DADA-69F3-E5C3453553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4592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904055A-0CE8-7647-DDD9-D9159DE32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D904055A-0CE8-7647-DDD9-D9159DE32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698175E-4B17-49AB-E179-E360D6244870}"/>
              </a:ext>
            </a:extLst>
          </p:cNvPr>
          <p:cNvSpPr/>
          <p:nvPr/>
        </p:nvSpPr>
        <p:spPr>
          <a:xfrm>
            <a:off x="0" y="0"/>
            <a:ext cx="4320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E0FB33-53DE-9ADC-D9A6-F1BEC46C4FAB}"/>
              </a:ext>
            </a:extLst>
          </p:cNvPr>
          <p:cNvSpPr txBox="1"/>
          <p:nvPr/>
        </p:nvSpPr>
        <p:spPr>
          <a:xfrm>
            <a:off x="5135671" y="1740368"/>
            <a:ext cx="6361004" cy="3377265"/>
          </a:xfrm>
          <a:prstGeom prst="rect">
            <a:avLst/>
          </a:prstGeom>
          <a:noFill/>
        </p:spPr>
        <p:txBody>
          <a:bodyPr wrap="square" lIns="0" tIns="0" rIns="0" bIns="0" numCol="1" spcCol="360000" rtlCol="0" anchor="ctr">
            <a:noAutofit/>
          </a:bodyPr>
          <a:lstStyle/>
          <a:p>
            <a:pPr>
              <a:spcAft>
                <a:spcPts val="1200"/>
              </a:spcAft>
            </a:pPr>
            <a:r>
              <a:rPr lang="uk-UA" sz="1200" dirty="0">
                <a:latin typeface="+mj-lt"/>
              </a:rPr>
              <a:t>ХХХХХ</a:t>
            </a:r>
          </a:p>
          <a:p>
            <a:pPr>
              <a:spcAft>
                <a:spcPts val="1200"/>
              </a:spcAft>
            </a:pPr>
            <a:r>
              <a:rPr lang="uk-UA" sz="1200" dirty="0"/>
              <a:t>Якусь вашу інформацію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8F09AD19-10C5-0867-B0FA-9C7673D37F89}"/>
              </a:ext>
            </a:extLst>
          </p:cNvPr>
          <p:cNvSpPr/>
          <p:nvPr/>
        </p:nvSpPr>
        <p:spPr>
          <a:xfrm>
            <a:off x="720000" y="4513469"/>
            <a:ext cx="2880000" cy="10159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ru-RU" b="1" dirty="0">
                <a:solidFill>
                  <a:schemeClr val="bg1"/>
                </a:solidFill>
                <a:latin typeface="+mj-lt"/>
              </a:rPr>
              <a:t>Чувак ХХХ</a:t>
            </a:r>
          </a:p>
          <a:p>
            <a:pPr algn="ctr">
              <a:spcAft>
                <a:spcPts val="600"/>
              </a:spcAft>
            </a:pPr>
            <a:r>
              <a:rPr lang="ru-RU" sz="1200" dirty="0" err="1">
                <a:solidFill>
                  <a:schemeClr val="bg1"/>
                </a:solidFill>
              </a:rPr>
              <a:t>Головний</a:t>
            </a:r>
            <a:r>
              <a:rPr lang="ru-RU" sz="1200" dirty="0">
                <a:solidFill>
                  <a:schemeClr val="bg1"/>
                </a:solidFill>
              </a:rPr>
              <a:t> директор кейсу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3A59636D-0FD5-0808-FE54-7E8FA5086B8F}"/>
              </a:ext>
            </a:extLst>
          </p:cNvPr>
          <p:cNvSpPr/>
          <p:nvPr/>
        </p:nvSpPr>
        <p:spPr>
          <a:xfrm>
            <a:off x="720000" y="1309161"/>
            <a:ext cx="2880000" cy="2880000"/>
          </a:xfrm>
          <a:prstGeom prst="ellipse">
            <a:avLst/>
          </a:prstGeom>
          <a:solidFill>
            <a:schemeClr val="accent4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 descr="Check Mark Button on Apple iOS 15.4">
            <a:extLst>
              <a:ext uri="{FF2B5EF4-FFF2-40B4-BE49-F238E27FC236}">
                <a16:creationId xmlns:a16="http://schemas.microsoft.com/office/drawing/2014/main" id="{E5244374-C99D-4BAF-952D-73411A8C2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269AB3C-3054-1B94-E71C-360A63C1A1B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667" r="16667"/>
          <a:stretch/>
        </p:blipFill>
        <p:spPr>
          <a:xfrm>
            <a:off x="756000" y="1345161"/>
            <a:ext cx="2808000" cy="2808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505862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904055A-0CE8-7647-DDD9-D9159DE323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6022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D904055A-0CE8-7647-DDD9-D9159DE323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E7B88B5-3205-0EA3-29B1-47170259AFC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798" b="798"/>
          <a:stretch/>
        </p:blipFill>
        <p:spPr>
          <a:xfrm>
            <a:off x="-2" y="-1"/>
            <a:ext cx="12192002" cy="6858002"/>
          </a:xfrm>
          <a:prstGeom prst="rect">
            <a:avLst/>
          </a:prstGeom>
        </p:spPr>
      </p:pic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ED414383-99FE-A09B-385F-86AD794726E6}"/>
              </a:ext>
            </a:extLst>
          </p:cNvPr>
          <p:cNvSpPr/>
          <p:nvPr/>
        </p:nvSpPr>
        <p:spPr>
          <a:xfrm>
            <a:off x="-1" y="-1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5" fmla="*/ 5089586 w 12192000"/>
              <a:gd name="connsiteY5" fmla="*/ 2263571 h 6858000"/>
              <a:gd name="connsiteX6" fmla="*/ 4983480 w 12192000"/>
              <a:gd name="connsiteY6" fmla="*/ 2276476 h 6858000"/>
              <a:gd name="connsiteX7" fmla="*/ 4796288 w 12192000"/>
              <a:gd name="connsiteY7" fmla="*/ 2304978 h 6858000"/>
              <a:gd name="connsiteX8" fmla="*/ 4785936 w 12192000"/>
              <a:gd name="connsiteY8" fmla="*/ 2356737 h 6858000"/>
              <a:gd name="connsiteX9" fmla="*/ 4327011 w 12192000"/>
              <a:gd name="connsiteY9" fmla="*/ 2460254 h 6858000"/>
              <a:gd name="connsiteX10" fmla="*/ 4333912 w 12192000"/>
              <a:gd name="connsiteY10" fmla="*/ 2581023 h 6858000"/>
              <a:gd name="connsiteX11" fmla="*/ 4274893 w 12192000"/>
              <a:gd name="connsiteY11" fmla="*/ 2588392 h 6858000"/>
              <a:gd name="connsiteX12" fmla="*/ 4271802 w 12192000"/>
              <a:gd name="connsiteY12" fmla="*/ 2632782 h 6858000"/>
              <a:gd name="connsiteX13" fmla="*/ 3997661 w 12192000"/>
              <a:gd name="connsiteY13" fmla="*/ 2683103 h 6858000"/>
              <a:gd name="connsiteX14" fmla="*/ 4020018 w 12192000"/>
              <a:gd name="connsiteY14" fmla="*/ 2853618 h 6858000"/>
              <a:gd name="connsiteX15" fmla="*/ 3761118 w 12192000"/>
              <a:gd name="connsiteY15" fmla="*/ 2898475 h 6858000"/>
              <a:gd name="connsiteX16" fmla="*/ 3723162 w 12192000"/>
              <a:gd name="connsiteY16" fmla="*/ 2881223 h 6858000"/>
              <a:gd name="connsiteX17" fmla="*/ 3702458 w 12192000"/>
              <a:gd name="connsiteY17" fmla="*/ 2922629 h 6858000"/>
              <a:gd name="connsiteX18" fmla="*/ 3719711 w 12192000"/>
              <a:gd name="connsiteY18" fmla="*/ 2967487 h 6858000"/>
              <a:gd name="connsiteX19" fmla="*/ 3629996 w 12192000"/>
              <a:gd name="connsiteY19" fmla="*/ 2960586 h 6858000"/>
              <a:gd name="connsiteX20" fmla="*/ 3623095 w 12192000"/>
              <a:gd name="connsiteY20" fmla="*/ 2870871 h 6858000"/>
              <a:gd name="connsiteX21" fmla="*/ 3657601 w 12192000"/>
              <a:gd name="connsiteY21" fmla="*/ 2784607 h 6858000"/>
              <a:gd name="connsiteX22" fmla="*/ 3602392 w 12192000"/>
              <a:gd name="connsiteY22" fmla="*/ 2732848 h 6858000"/>
              <a:gd name="connsiteX23" fmla="*/ 3671403 w 12192000"/>
              <a:gd name="connsiteY23" fmla="*/ 2687991 h 6858000"/>
              <a:gd name="connsiteX24" fmla="*/ 3650700 w 12192000"/>
              <a:gd name="connsiteY24" fmla="*/ 2667288 h 6858000"/>
              <a:gd name="connsiteX25" fmla="*/ 3785272 w 12192000"/>
              <a:gd name="connsiteY25" fmla="*/ 2549968 h 6858000"/>
              <a:gd name="connsiteX26" fmla="*/ 3595491 w 12192000"/>
              <a:gd name="connsiteY26" fmla="*/ 2553419 h 6858000"/>
              <a:gd name="connsiteX27" fmla="*/ 3585139 w 12192000"/>
              <a:gd name="connsiteY27" fmla="*/ 2539617 h 6858000"/>
              <a:gd name="connsiteX28" fmla="*/ 3181423 w 12192000"/>
              <a:gd name="connsiteY28" fmla="*/ 2594826 h 6858000"/>
              <a:gd name="connsiteX29" fmla="*/ 3184873 w 12192000"/>
              <a:gd name="connsiteY29" fmla="*/ 2660386 h 6858000"/>
              <a:gd name="connsiteX30" fmla="*/ 3046851 w 12192000"/>
              <a:gd name="connsiteY30" fmla="*/ 2684540 h 6858000"/>
              <a:gd name="connsiteX31" fmla="*/ 3033049 w 12192000"/>
              <a:gd name="connsiteY31" fmla="*/ 2670738 h 6858000"/>
              <a:gd name="connsiteX32" fmla="*/ 2736300 w 12192000"/>
              <a:gd name="connsiteY32" fmla="*/ 2715595 h 6858000"/>
              <a:gd name="connsiteX33" fmla="*/ 2750102 w 12192000"/>
              <a:gd name="connsiteY33" fmla="*/ 2798409 h 6858000"/>
              <a:gd name="connsiteX34" fmla="*/ 2601728 w 12192000"/>
              <a:gd name="connsiteY34" fmla="*/ 2832915 h 6858000"/>
              <a:gd name="connsiteX35" fmla="*/ 2581024 w 12192000"/>
              <a:gd name="connsiteY35" fmla="*/ 2788057 h 6858000"/>
              <a:gd name="connsiteX36" fmla="*/ 2563772 w 12192000"/>
              <a:gd name="connsiteY36" fmla="*/ 2788057 h 6858000"/>
              <a:gd name="connsiteX37" fmla="*/ 2515464 w 12192000"/>
              <a:gd name="connsiteY37" fmla="*/ 2456803 h 6858000"/>
              <a:gd name="connsiteX38" fmla="*/ 2291177 w 12192000"/>
              <a:gd name="connsiteY38" fmla="*/ 2501660 h 6858000"/>
              <a:gd name="connsiteX39" fmla="*/ 2304979 w 12192000"/>
              <a:gd name="connsiteY39" fmla="*/ 2601727 h 6858000"/>
              <a:gd name="connsiteX40" fmla="*/ 2180759 w 12192000"/>
              <a:gd name="connsiteY40" fmla="*/ 2632782 h 6858000"/>
              <a:gd name="connsiteX41" fmla="*/ 2156605 w 12192000"/>
              <a:gd name="connsiteY41" fmla="*/ 2656936 h 6858000"/>
              <a:gd name="connsiteX42" fmla="*/ 1959923 w 12192000"/>
              <a:gd name="connsiteY42" fmla="*/ 2615529 h 6858000"/>
              <a:gd name="connsiteX43" fmla="*/ 2018582 w 12192000"/>
              <a:gd name="connsiteY43" fmla="*/ 3074454 h 6858000"/>
              <a:gd name="connsiteX44" fmla="*/ 1849504 w 12192000"/>
              <a:gd name="connsiteY44" fmla="*/ 3091707 h 6858000"/>
              <a:gd name="connsiteX45" fmla="*/ 1887461 w 12192000"/>
              <a:gd name="connsiteY45" fmla="*/ 3143466 h 6858000"/>
              <a:gd name="connsiteX46" fmla="*/ 1852955 w 12192000"/>
              <a:gd name="connsiteY46" fmla="*/ 3181422 h 6858000"/>
              <a:gd name="connsiteX47" fmla="*/ 1849504 w 12192000"/>
              <a:gd name="connsiteY47" fmla="*/ 3246983 h 6858000"/>
              <a:gd name="connsiteX48" fmla="*/ 1794295 w 12192000"/>
              <a:gd name="connsiteY48" fmla="*/ 3243532 h 6858000"/>
              <a:gd name="connsiteX49" fmla="*/ 1787394 w 12192000"/>
              <a:gd name="connsiteY49" fmla="*/ 3226279 h 6858000"/>
              <a:gd name="connsiteX50" fmla="*/ 1711482 w 12192000"/>
              <a:gd name="connsiteY50" fmla="*/ 3233180 h 6858000"/>
              <a:gd name="connsiteX51" fmla="*/ 1690778 w 12192000"/>
              <a:gd name="connsiteY51" fmla="*/ 3288389 h 6858000"/>
              <a:gd name="connsiteX52" fmla="*/ 1649372 w 12192000"/>
              <a:gd name="connsiteY52" fmla="*/ 3253884 h 6858000"/>
              <a:gd name="connsiteX53" fmla="*/ 1618316 w 12192000"/>
              <a:gd name="connsiteY53" fmla="*/ 3253884 h 6858000"/>
              <a:gd name="connsiteX54" fmla="*/ 1625218 w 12192000"/>
              <a:gd name="connsiteY54" fmla="*/ 3153817 h 6858000"/>
              <a:gd name="connsiteX55" fmla="*/ 1594162 w 12192000"/>
              <a:gd name="connsiteY55" fmla="*/ 3159882 h 6858000"/>
              <a:gd name="connsiteX56" fmla="*/ 1594160 w 12192000"/>
              <a:gd name="connsiteY56" fmla="*/ 3159882 h 6858000"/>
              <a:gd name="connsiteX57" fmla="*/ 1599069 w 12192000"/>
              <a:gd name="connsiteY57" fmla="*/ 3151418 h 6858000"/>
              <a:gd name="connsiteX58" fmla="*/ 1601064 w 12192000"/>
              <a:gd name="connsiteY58" fmla="*/ 3119312 h 6858000"/>
              <a:gd name="connsiteX59" fmla="*/ 1576910 w 12192000"/>
              <a:gd name="connsiteY59" fmla="*/ 2784607 h 6858000"/>
              <a:gd name="connsiteX60" fmla="*/ 1518250 w 12192000"/>
              <a:gd name="connsiteY60" fmla="*/ 2767354 h 6858000"/>
              <a:gd name="connsiteX61" fmla="*/ 1428535 w 12192000"/>
              <a:gd name="connsiteY61" fmla="*/ 2788057 h 6858000"/>
              <a:gd name="connsiteX62" fmla="*/ 1380227 w 12192000"/>
              <a:gd name="connsiteY62" fmla="*/ 2622430 h 6858000"/>
              <a:gd name="connsiteX63" fmla="*/ 1373578 w 12192000"/>
              <a:gd name="connsiteY63" fmla="*/ 2917274 h 6858000"/>
              <a:gd name="connsiteX64" fmla="*/ 545190 w 12192000"/>
              <a:gd name="connsiteY64" fmla="*/ 3081355 h 6858000"/>
              <a:gd name="connsiteX65" fmla="*/ 590048 w 12192000"/>
              <a:gd name="connsiteY65" fmla="*/ 3157268 h 6858000"/>
              <a:gd name="connsiteX66" fmla="*/ 652158 w 12192000"/>
              <a:gd name="connsiteY66" fmla="*/ 3157268 h 6858000"/>
              <a:gd name="connsiteX67" fmla="*/ 655609 w 12192000"/>
              <a:gd name="connsiteY67" fmla="*/ 3184872 h 6858000"/>
              <a:gd name="connsiteX68" fmla="*/ 728070 w 12192000"/>
              <a:gd name="connsiteY68" fmla="*/ 3129663 h 6858000"/>
              <a:gd name="connsiteX69" fmla="*/ 721169 w 12192000"/>
              <a:gd name="connsiteY69" fmla="*/ 3188323 h 6858000"/>
              <a:gd name="connsiteX70" fmla="*/ 841939 w 12192000"/>
              <a:gd name="connsiteY70" fmla="*/ 3153817 h 6858000"/>
              <a:gd name="connsiteX71" fmla="*/ 810884 w 12192000"/>
              <a:gd name="connsiteY71" fmla="*/ 3240082 h 6858000"/>
              <a:gd name="connsiteX72" fmla="*/ 904049 w 12192000"/>
              <a:gd name="connsiteY72" fmla="*/ 3319445 h 6858000"/>
              <a:gd name="connsiteX73" fmla="*/ 976511 w 12192000"/>
              <a:gd name="connsiteY73" fmla="*/ 3319445 h 6858000"/>
              <a:gd name="connsiteX74" fmla="*/ 1069676 w 12192000"/>
              <a:gd name="connsiteY74" fmla="*/ 3716260 h 6858000"/>
              <a:gd name="connsiteX75" fmla="*/ 1307766 w 12192000"/>
              <a:gd name="connsiteY75" fmla="*/ 3702457 h 6858000"/>
              <a:gd name="connsiteX76" fmla="*/ 1390579 w 12192000"/>
              <a:gd name="connsiteY76" fmla="*/ 4085470 h 6858000"/>
              <a:gd name="connsiteX77" fmla="*/ 1397265 w 12192000"/>
              <a:gd name="connsiteY77" fmla="*/ 4100519 h 6858000"/>
              <a:gd name="connsiteX78" fmla="*/ 1401943 w 12192000"/>
              <a:gd name="connsiteY78" fmla="*/ 4100946 h 6858000"/>
              <a:gd name="connsiteX79" fmla="*/ 1392961 w 12192000"/>
              <a:gd name="connsiteY79" fmla="*/ 4124548 h 6858000"/>
              <a:gd name="connsiteX80" fmla="*/ 1221501 w 12192000"/>
              <a:gd name="connsiteY80" fmla="*/ 4565099 h 6858000"/>
              <a:gd name="connsiteX81" fmla="*/ 1228403 w 12192000"/>
              <a:gd name="connsiteY81" fmla="*/ 4741078 h 6858000"/>
              <a:gd name="connsiteX82" fmla="*/ 1256007 w 12192000"/>
              <a:gd name="connsiteY82" fmla="*/ 4792836 h 6858000"/>
              <a:gd name="connsiteX83" fmla="*/ 1428787 w 12192000"/>
              <a:gd name="connsiteY83" fmla="*/ 4746433 h 6858000"/>
              <a:gd name="connsiteX84" fmla="*/ 1387129 w 12192000"/>
              <a:gd name="connsiteY84" fmla="*/ 4682418 h 6858000"/>
              <a:gd name="connsiteX85" fmla="*/ 1594163 w 12192000"/>
              <a:gd name="connsiteY85" fmla="*/ 4572000 h 6858000"/>
              <a:gd name="connsiteX86" fmla="*/ 1846054 w 12192000"/>
              <a:gd name="connsiteY86" fmla="*/ 4527143 h 6858000"/>
              <a:gd name="connsiteX87" fmla="*/ 1877109 w 12192000"/>
              <a:gd name="connsiteY87" fmla="*/ 4668616 h 6858000"/>
              <a:gd name="connsiteX88" fmla="*/ 2011681 w 12192000"/>
              <a:gd name="connsiteY88" fmla="*/ 4682418 h 6858000"/>
              <a:gd name="connsiteX89" fmla="*/ 1987527 w 12192000"/>
              <a:gd name="connsiteY89" fmla="*/ 4644462 h 6858000"/>
              <a:gd name="connsiteX90" fmla="*/ 2004780 w 12192000"/>
              <a:gd name="connsiteY90" fmla="*/ 4544395 h 6858000"/>
              <a:gd name="connsiteX91" fmla="*/ 2522365 w 12192000"/>
              <a:gd name="connsiteY91" fmla="*/ 4468483 h 6858000"/>
              <a:gd name="connsiteX92" fmla="*/ 2539618 w 12192000"/>
              <a:gd name="connsiteY92" fmla="*/ 4551297 h 6858000"/>
              <a:gd name="connsiteX93" fmla="*/ 2608629 w 12192000"/>
              <a:gd name="connsiteY93" fmla="*/ 4520242 h 6858000"/>
              <a:gd name="connsiteX94" fmla="*/ 2543068 w 12192000"/>
              <a:gd name="connsiteY94" fmla="*/ 4223493 h 6858000"/>
              <a:gd name="connsiteX95" fmla="*/ 2836366 w 12192000"/>
              <a:gd name="connsiteY95" fmla="*/ 4161383 h 6858000"/>
              <a:gd name="connsiteX96" fmla="*/ 2908828 w 12192000"/>
              <a:gd name="connsiteY96" fmla="*/ 4578901 h 6858000"/>
              <a:gd name="connsiteX97" fmla="*/ 3195225 w 12192000"/>
              <a:gd name="connsiteY97" fmla="*/ 4489186 h 6858000"/>
              <a:gd name="connsiteX98" fmla="*/ 3222830 w 12192000"/>
              <a:gd name="connsiteY98" fmla="*/ 4599605 h 6858000"/>
              <a:gd name="connsiteX99" fmla="*/ 3281489 w 12192000"/>
              <a:gd name="connsiteY99" fmla="*/ 4599605 h 6858000"/>
              <a:gd name="connsiteX100" fmla="*/ 3340149 w 12192000"/>
              <a:gd name="connsiteY100" fmla="*/ 4665165 h 6858000"/>
              <a:gd name="connsiteX101" fmla="*/ 3436765 w 12192000"/>
              <a:gd name="connsiteY101" fmla="*/ 4668616 h 6858000"/>
              <a:gd name="connsiteX102" fmla="*/ 3471270 w 12192000"/>
              <a:gd name="connsiteY102" fmla="*/ 4575451 h 6858000"/>
              <a:gd name="connsiteX103" fmla="*/ 3585139 w 12192000"/>
              <a:gd name="connsiteY103" fmla="*/ 4540945 h 6858000"/>
              <a:gd name="connsiteX104" fmla="*/ 3754217 w 12192000"/>
              <a:gd name="connsiteY104" fmla="*/ 4592703 h 6858000"/>
              <a:gd name="connsiteX105" fmla="*/ 3771470 w 12192000"/>
              <a:gd name="connsiteY105" fmla="*/ 4575451 h 6858000"/>
              <a:gd name="connsiteX106" fmla="*/ 3805975 w 12192000"/>
              <a:gd name="connsiteY106" fmla="*/ 4575451 h 6858000"/>
              <a:gd name="connsiteX107" fmla="*/ 3843932 w 12192000"/>
              <a:gd name="connsiteY107" fmla="*/ 4537494 h 6858000"/>
              <a:gd name="connsiteX108" fmla="*/ 3843932 w 12192000"/>
              <a:gd name="connsiteY108" fmla="*/ 4461582 h 6858000"/>
              <a:gd name="connsiteX109" fmla="*/ 4696221 w 12192000"/>
              <a:gd name="connsiteY109" fmla="*/ 4289054 h 6858000"/>
              <a:gd name="connsiteX110" fmla="*/ 4713474 w 12192000"/>
              <a:gd name="connsiteY110" fmla="*/ 4247647 h 6858000"/>
              <a:gd name="connsiteX111" fmla="*/ 4979168 w 12192000"/>
              <a:gd name="connsiteY111" fmla="*/ 4137229 h 6858000"/>
              <a:gd name="connsiteX112" fmla="*/ 4882552 w 12192000"/>
              <a:gd name="connsiteY112" fmla="*/ 3712809 h 6858000"/>
              <a:gd name="connsiteX113" fmla="*/ 4894819 w 12192000"/>
              <a:gd name="connsiteY113" fmla="*/ 3699754 h 6858000"/>
              <a:gd name="connsiteX114" fmla="*/ 4895137 w 12192000"/>
              <a:gd name="connsiteY114" fmla="*/ 3699026 h 6858000"/>
              <a:gd name="connsiteX115" fmla="*/ 4900461 w 12192000"/>
              <a:gd name="connsiteY115" fmla="*/ 3699716 h 6858000"/>
              <a:gd name="connsiteX116" fmla="*/ 5027476 w 12192000"/>
              <a:gd name="connsiteY116" fmla="*/ 3657600 h 6858000"/>
              <a:gd name="connsiteX117" fmla="*/ 5034377 w 12192000"/>
              <a:gd name="connsiteY117" fmla="*/ 3678303 h 6858000"/>
              <a:gd name="connsiteX118" fmla="*/ 5137894 w 12192000"/>
              <a:gd name="connsiteY118" fmla="*/ 3647248 h 6858000"/>
              <a:gd name="connsiteX119" fmla="*/ 5096487 w 12192000"/>
              <a:gd name="connsiteY119" fmla="*/ 3409159 h 6858000"/>
              <a:gd name="connsiteX120" fmla="*/ 5094938 w 12192000"/>
              <a:gd name="connsiteY120" fmla="*/ 3396790 h 6858000"/>
              <a:gd name="connsiteX121" fmla="*/ 5093612 w 12192000"/>
              <a:gd name="connsiteY121" fmla="*/ 3392894 h 6858000"/>
              <a:gd name="connsiteX122" fmla="*/ 5098342 w 12192000"/>
              <a:gd name="connsiteY122" fmla="*/ 3395158 h 6858000"/>
              <a:gd name="connsiteX123" fmla="*/ 5120641 w 12192000"/>
              <a:gd name="connsiteY123" fmla="*/ 3385005 h 6858000"/>
              <a:gd name="connsiteX124" fmla="*/ 4999871 w 12192000"/>
              <a:gd name="connsiteY124" fmla="*/ 2705244 h 6858000"/>
              <a:gd name="connsiteX125" fmla="*/ 5034377 w 12192000"/>
              <a:gd name="connsiteY125" fmla="*/ 2639683 h 6858000"/>
              <a:gd name="connsiteX126" fmla="*/ 5172399 w 12192000"/>
              <a:gd name="connsiteY126" fmla="*/ 2601727 h 6858000"/>
              <a:gd name="connsiteX127" fmla="*/ 5128260 w 12192000"/>
              <a:gd name="connsiteY127" fmla="*/ 2430780 h 6858000"/>
              <a:gd name="connsiteX128" fmla="*/ 5089586 w 12192000"/>
              <a:gd name="connsiteY128" fmla="*/ 226357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  <a:moveTo>
                  <a:pt x="5089586" y="2263571"/>
                </a:moveTo>
                <a:lnTo>
                  <a:pt x="4983480" y="2276476"/>
                </a:lnTo>
                <a:cubicBezTo>
                  <a:pt x="4934597" y="2283377"/>
                  <a:pt x="4829212" y="2291601"/>
                  <a:pt x="4796288" y="2304978"/>
                </a:cubicBezTo>
                <a:lnTo>
                  <a:pt x="4785936" y="2356737"/>
                </a:lnTo>
                <a:lnTo>
                  <a:pt x="4327011" y="2460254"/>
                </a:lnTo>
                <a:cubicBezTo>
                  <a:pt x="4316444" y="2516685"/>
                  <a:pt x="4342598" y="2559667"/>
                  <a:pt x="4333912" y="2581023"/>
                </a:cubicBezTo>
                <a:lnTo>
                  <a:pt x="4274893" y="2588392"/>
                </a:lnTo>
                <a:lnTo>
                  <a:pt x="4271802" y="2632782"/>
                </a:lnTo>
                <a:cubicBezTo>
                  <a:pt x="4233217" y="2658092"/>
                  <a:pt x="4039625" y="2646297"/>
                  <a:pt x="3997661" y="2683103"/>
                </a:cubicBezTo>
                <a:lnTo>
                  <a:pt x="4020018" y="2853618"/>
                </a:lnTo>
                <a:cubicBezTo>
                  <a:pt x="3980594" y="2889513"/>
                  <a:pt x="3810594" y="2893874"/>
                  <a:pt x="3761118" y="2898475"/>
                </a:cubicBezTo>
                <a:cubicBezTo>
                  <a:pt x="3711642" y="2903076"/>
                  <a:pt x="3732939" y="2877197"/>
                  <a:pt x="3723162" y="2881223"/>
                </a:cubicBezTo>
                <a:cubicBezTo>
                  <a:pt x="3713385" y="2885249"/>
                  <a:pt x="3703033" y="2908252"/>
                  <a:pt x="3702458" y="2922629"/>
                </a:cubicBezTo>
                <a:cubicBezTo>
                  <a:pt x="3701883" y="2937006"/>
                  <a:pt x="3731788" y="2961161"/>
                  <a:pt x="3719711" y="2967487"/>
                </a:cubicBezTo>
                <a:cubicBezTo>
                  <a:pt x="3707634" y="2973813"/>
                  <a:pt x="3646099" y="2976689"/>
                  <a:pt x="3629996" y="2960586"/>
                </a:cubicBezTo>
                <a:cubicBezTo>
                  <a:pt x="3613893" y="2944483"/>
                  <a:pt x="3618494" y="2900201"/>
                  <a:pt x="3623095" y="2870871"/>
                </a:cubicBezTo>
                <a:cubicBezTo>
                  <a:pt x="3627696" y="2841541"/>
                  <a:pt x="3661051" y="2807611"/>
                  <a:pt x="3657601" y="2784607"/>
                </a:cubicBezTo>
                <a:cubicBezTo>
                  <a:pt x="3654151" y="2761603"/>
                  <a:pt x="3600092" y="2748951"/>
                  <a:pt x="3602392" y="2732848"/>
                </a:cubicBezTo>
                <a:cubicBezTo>
                  <a:pt x="3604692" y="2716745"/>
                  <a:pt x="3663352" y="2698918"/>
                  <a:pt x="3671403" y="2687991"/>
                </a:cubicBezTo>
                <a:cubicBezTo>
                  <a:pt x="3679454" y="2677064"/>
                  <a:pt x="3631722" y="2690292"/>
                  <a:pt x="3650700" y="2667288"/>
                </a:cubicBezTo>
                <a:cubicBezTo>
                  <a:pt x="3669678" y="2644284"/>
                  <a:pt x="3794473" y="2568946"/>
                  <a:pt x="3785272" y="2549968"/>
                </a:cubicBezTo>
                <a:cubicBezTo>
                  <a:pt x="3776071" y="2530990"/>
                  <a:pt x="3628846" y="2555144"/>
                  <a:pt x="3595491" y="2553419"/>
                </a:cubicBezTo>
                <a:cubicBezTo>
                  <a:pt x="3562136" y="2551694"/>
                  <a:pt x="3654150" y="2532716"/>
                  <a:pt x="3585139" y="2539617"/>
                </a:cubicBezTo>
                <a:cubicBezTo>
                  <a:pt x="3516128" y="2546518"/>
                  <a:pt x="3248134" y="2574698"/>
                  <a:pt x="3181423" y="2594826"/>
                </a:cubicBezTo>
                <a:lnTo>
                  <a:pt x="3184873" y="2660386"/>
                </a:lnTo>
                <a:cubicBezTo>
                  <a:pt x="3162444" y="2675338"/>
                  <a:pt x="3072155" y="2682815"/>
                  <a:pt x="3046851" y="2684540"/>
                </a:cubicBezTo>
                <a:cubicBezTo>
                  <a:pt x="3021547" y="2686265"/>
                  <a:pt x="3084808" y="2665562"/>
                  <a:pt x="3033049" y="2670738"/>
                </a:cubicBezTo>
                <a:cubicBezTo>
                  <a:pt x="3033049" y="2670738"/>
                  <a:pt x="2783458" y="2694317"/>
                  <a:pt x="2736300" y="2715595"/>
                </a:cubicBezTo>
                <a:lnTo>
                  <a:pt x="2750102" y="2798409"/>
                </a:lnTo>
                <a:cubicBezTo>
                  <a:pt x="2727673" y="2817962"/>
                  <a:pt x="2629908" y="2834640"/>
                  <a:pt x="2601728" y="2832915"/>
                </a:cubicBezTo>
                <a:cubicBezTo>
                  <a:pt x="2573548" y="2831190"/>
                  <a:pt x="2587350" y="2795533"/>
                  <a:pt x="2581024" y="2788057"/>
                </a:cubicBezTo>
                <a:cubicBezTo>
                  <a:pt x="2574698" y="2780581"/>
                  <a:pt x="2574699" y="2843266"/>
                  <a:pt x="2563772" y="2788057"/>
                </a:cubicBezTo>
                <a:lnTo>
                  <a:pt x="2515464" y="2456803"/>
                </a:lnTo>
                <a:lnTo>
                  <a:pt x="2291177" y="2501660"/>
                </a:lnTo>
                <a:lnTo>
                  <a:pt x="2304979" y="2601727"/>
                </a:lnTo>
                <a:cubicBezTo>
                  <a:pt x="2286576" y="2623581"/>
                  <a:pt x="2205488" y="2623581"/>
                  <a:pt x="2180759" y="2632782"/>
                </a:cubicBezTo>
                <a:cubicBezTo>
                  <a:pt x="2156030" y="2641983"/>
                  <a:pt x="2193411" y="2659812"/>
                  <a:pt x="2156605" y="2656936"/>
                </a:cubicBezTo>
                <a:lnTo>
                  <a:pt x="1959923" y="2615529"/>
                </a:lnTo>
                <a:lnTo>
                  <a:pt x="2018582" y="3074454"/>
                </a:lnTo>
                <a:lnTo>
                  <a:pt x="1849504" y="3091707"/>
                </a:lnTo>
                <a:cubicBezTo>
                  <a:pt x="1827651" y="3103209"/>
                  <a:pt x="1886886" y="3128514"/>
                  <a:pt x="1887461" y="3143466"/>
                </a:cubicBezTo>
                <a:cubicBezTo>
                  <a:pt x="1888036" y="3158418"/>
                  <a:pt x="1859281" y="3164169"/>
                  <a:pt x="1852955" y="3181422"/>
                </a:cubicBezTo>
                <a:cubicBezTo>
                  <a:pt x="1846629" y="3198675"/>
                  <a:pt x="1859281" y="3236631"/>
                  <a:pt x="1849504" y="3246983"/>
                </a:cubicBezTo>
                <a:cubicBezTo>
                  <a:pt x="1839727" y="3257335"/>
                  <a:pt x="1804647" y="3246983"/>
                  <a:pt x="1794295" y="3243532"/>
                </a:cubicBezTo>
                <a:cubicBezTo>
                  <a:pt x="1783943" y="3240081"/>
                  <a:pt x="1801196" y="3228004"/>
                  <a:pt x="1787394" y="3226279"/>
                </a:cubicBezTo>
                <a:cubicBezTo>
                  <a:pt x="1773592" y="3224554"/>
                  <a:pt x="1727585" y="3222828"/>
                  <a:pt x="1711482" y="3233180"/>
                </a:cubicBezTo>
                <a:cubicBezTo>
                  <a:pt x="1695379" y="3243532"/>
                  <a:pt x="1701130" y="3284938"/>
                  <a:pt x="1690778" y="3288389"/>
                </a:cubicBezTo>
                <a:cubicBezTo>
                  <a:pt x="1680426" y="3291840"/>
                  <a:pt x="1661449" y="3259635"/>
                  <a:pt x="1649372" y="3253884"/>
                </a:cubicBezTo>
                <a:cubicBezTo>
                  <a:pt x="1637295" y="3248133"/>
                  <a:pt x="1622342" y="3270562"/>
                  <a:pt x="1618316" y="3253884"/>
                </a:cubicBezTo>
                <a:cubicBezTo>
                  <a:pt x="1614290" y="3237206"/>
                  <a:pt x="1630394" y="3169345"/>
                  <a:pt x="1625218" y="3153817"/>
                </a:cubicBezTo>
                <a:cubicBezTo>
                  <a:pt x="1621336" y="3142171"/>
                  <a:pt x="1604191" y="3155111"/>
                  <a:pt x="1594162" y="3159882"/>
                </a:cubicBezTo>
                <a:lnTo>
                  <a:pt x="1594160" y="3159882"/>
                </a:lnTo>
                <a:lnTo>
                  <a:pt x="1599069" y="3151418"/>
                </a:lnTo>
                <a:cubicBezTo>
                  <a:pt x="1600597" y="3145047"/>
                  <a:pt x="1601495" y="3134983"/>
                  <a:pt x="1601064" y="3119312"/>
                </a:cubicBezTo>
                <a:cubicBezTo>
                  <a:pt x="1599339" y="3056627"/>
                  <a:pt x="1590712" y="2843266"/>
                  <a:pt x="1576910" y="2784607"/>
                </a:cubicBezTo>
                <a:lnTo>
                  <a:pt x="1518250" y="2767354"/>
                </a:lnTo>
                <a:lnTo>
                  <a:pt x="1428535" y="2788057"/>
                </a:lnTo>
                <a:cubicBezTo>
                  <a:pt x="1405531" y="2763903"/>
                  <a:pt x="1389386" y="2600894"/>
                  <a:pt x="1380227" y="2622430"/>
                </a:cubicBezTo>
                <a:cubicBezTo>
                  <a:pt x="1371068" y="2643966"/>
                  <a:pt x="1316739" y="2704693"/>
                  <a:pt x="1373578" y="2917274"/>
                </a:cubicBezTo>
                <a:lnTo>
                  <a:pt x="545190" y="3081355"/>
                </a:lnTo>
                <a:lnTo>
                  <a:pt x="590048" y="3157268"/>
                </a:lnTo>
                <a:cubicBezTo>
                  <a:pt x="607876" y="3169920"/>
                  <a:pt x="641231" y="3152667"/>
                  <a:pt x="652158" y="3157268"/>
                </a:cubicBezTo>
                <a:cubicBezTo>
                  <a:pt x="663085" y="3161869"/>
                  <a:pt x="642957" y="3189473"/>
                  <a:pt x="655609" y="3184872"/>
                </a:cubicBezTo>
                <a:cubicBezTo>
                  <a:pt x="668261" y="3180271"/>
                  <a:pt x="717143" y="3129088"/>
                  <a:pt x="728070" y="3129663"/>
                </a:cubicBezTo>
                <a:cubicBezTo>
                  <a:pt x="738997" y="3130238"/>
                  <a:pt x="702191" y="3184297"/>
                  <a:pt x="721169" y="3188323"/>
                </a:cubicBezTo>
                <a:cubicBezTo>
                  <a:pt x="740147" y="3192349"/>
                  <a:pt x="826986" y="3145190"/>
                  <a:pt x="841939" y="3153817"/>
                </a:cubicBezTo>
                <a:lnTo>
                  <a:pt x="810884" y="3240082"/>
                </a:lnTo>
                <a:cubicBezTo>
                  <a:pt x="948619" y="3285586"/>
                  <a:pt x="872994" y="3292991"/>
                  <a:pt x="904049" y="3319445"/>
                </a:cubicBezTo>
                <a:lnTo>
                  <a:pt x="976511" y="3319445"/>
                </a:lnTo>
                <a:lnTo>
                  <a:pt x="1069676" y="3716260"/>
                </a:lnTo>
                <a:lnTo>
                  <a:pt x="1307766" y="3702457"/>
                </a:lnTo>
                <a:lnTo>
                  <a:pt x="1390579" y="4085470"/>
                </a:lnTo>
                <a:cubicBezTo>
                  <a:pt x="1392664" y="4093450"/>
                  <a:pt x="1394937" y="4098185"/>
                  <a:pt x="1397265" y="4100519"/>
                </a:cubicBezTo>
                <a:lnTo>
                  <a:pt x="1401943" y="4100946"/>
                </a:lnTo>
                <a:lnTo>
                  <a:pt x="1392961" y="4124548"/>
                </a:lnTo>
                <a:cubicBezTo>
                  <a:pt x="1349127" y="4235183"/>
                  <a:pt x="1247668" y="4469490"/>
                  <a:pt x="1221501" y="4565099"/>
                </a:cubicBezTo>
                <a:lnTo>
                  <a:pt x="1228403" y="4741078"/>
                </a:lnTo>
                <a:lnTo>
                  <a:pt x="1256007" y="4792836"/>
                </a:lnTo>
                <a:lnTo>
                  <a:pt x="1428787" y="4746433"/>
                </a:lnTo>
                <a:lnTo>
                  <a:pt x="1387129" y="4682418"/>
                </a:lnTo>
                <a:cubicBezTo>
                  <a:pt x="1414692" y="4653346"/>
                  <a:pt x="1517675" y="4597879"/>
                  <a:pt x="1594163" y="4572000"/>
                </a:cubicBezTo>
                <a:lnTo>
                  <a:pt x="1846054" y="4527143"/>
                </a:lnTo>
                <a:cubicBezTo>
                  <a:pt x="1893212" y="4543246"/>
                  <a:pt x="1849505" y="4642737"/>
                  <a:pt x="1877109" y="4668616"/>
                </a:cubicBezTo>
                <a:cubicBezTo>
                  <a:pt x="1904713" y="4694495"/>
                  <a:pt x="1993278" y="4686444"/>
                  <a:pt x="2011681" y="4682418"/>
                </a:cubicBezTo>
                <a:cubicBezTo>
                  <a:pt x="2030084" y="4678392"/>
                  <a:pt x="1988677" y="4667466"/>
                  <a:pt x="1987527" y="4644462"/>
                </a:cubicBezTo>
                <a:lnTo>
                  <a:pt x="2004780" y="4544395"/>
                </a:lnTo>
                <a:cubicBezTo>
                  <a:pt x="2093920" y="4515065"/>
                  <a:pt x="2433225" y="4467333"/>
                  <a:pt x="2522365" y="4468483"/>
                </a:cubicBezTo>
                <a:lnTo>
                  <a:pt x="2539618" y="4551297"/>
                </a:lnTo>
                <a:lnTo>
                  <a:pt x="2608629" y="4520242"/>
                </a:lnTo>
                <a:lnTo>
                  <a:pt x="2543068" y="4223493"/>
                </a:lnTo>
                <a:lnTo>
                  <a:pt x="2836366" y="4161383"/>
                </a:lnTo>
                <a:lnTo>
                  <a:pt x="2908828" y="4578901"/>
                </a:lnTo>
                <a:lnTo>
                  <a:pt x="3195225" y="4489186"/>
                </a:lnTo>
                <a:lnTo>
                  <a:pt x="3222830" y="4599605"/>
                </a:lnTo>
                <a:cubicBezTo>
                  <a:pt x="3237207" y="4618008"/>
                  <a:pt x="3261936" y="4588678"/>
                  <a:pt x="3281489" y="4599605"/>
                </a:cubicBezTo>
                <a:cubicBezTo>
                  <a:pt x="3301042" y="4610532"/>
                  <a:pt x="3314270" y="4653663"/>
                  <a:pt x="3340149" y="4665165"/>
                </a:cubicBezTo>
                <a:cubicBezTo>
                  <a:pt x="3366028" y="4676667"/>
                  <a:pt x="3414912" y="4683568"/>
                  <a:pt x="3436765" y="4668616"/>
                </a:cubicBezTo>
                <a:cubicBezTo>
                  <a:pt x="3458618" y="4653664"/>
                  <a:pt x="3446541" y="4596730"/>
                  <a:pt x="3471270" y="4575451"/>
                </a:cubicBezTo>
                <a:cubicBezTo>
                  <a:pt x="3495999" y="4554172"/>
                  <a:pt x="3537981" y="4538070"/>
                  <a:pt x="3585139" y="4540945"/>
                </a:cubicBezTo>
                <a:cubicBezTo>
                  <a:pt x="3632297" y="4543820"/>
                  <a:pt x="3723162" y="4586952"/>
                  <a:pt x="3754217" y="4592703"/>
                </a:cubicBezTo>
                <a:cubicBezTo>
                  <a:pt x="3785272" y="4598454"/>
                  <a:pt x="3762844" y="4578326"/>
                  <a:pt x="3771470" y="4575451"/>
                </a:cubicBezTo>
                <a:cubicBezTo>
                  <a:pt x="3780096" y="4572576"/>
                  <a:pt x="3793898" y="4581777"/>
                  <a:pt x="3805975" y="4575451"/>
                </a:cubicBezTo>
                <a:cubicBezTo>
                  <a:pt x="3818052" y="4569125"/>
                  <a:pt x="3837606" y="4556472"/>
                  <a:pt x="3843932" y="4537494"/>
                </a:cubicBezTo>
                <a:lnTo>
                  <a:pt x="3843932" y="4461582"/>
                </a:lnTo>
                <a:cubicBezTo>
                  <a:pt x="3985980" y="4420175"/>
                  <a:pt x="4551297" y="4324710"/>
                  <a:pt x="4696221" y="4289054"/>
                </a:cubicBezTo>
                <a:lnTo>
                  <a:pt x="4713474" y="4247647"/>
                </a:lnTo>
                <a:cubicBezTo>
                  <a:pt x="4760632" y="4222343"/>
                  <a:pt x="4897648" y="4184458"/>
                  <a:pt x="4979168" y="4137229"/>
                </a:cubicBezTo>
                <a:cubicBezTo>
                  <a:pt x="4963533" y="4057615"/>
                  <a:pt x="4897361" y="3783222"/>
                  <a:pt x="4882552" y="3712809"/>
                </a:cubicBezTo>
                <a:cubicBezTo>
                  <a:pt x="4889035" y="3706627"/>
                  <a:pt x="4892790" y="3702468"/>
                  <a:pt x="4894819" y="3699754"/>
                </a:cubicBezTo>
                <a:lnTo>
                  <a:pt x="4895137" y="3699026"/>
                </a:lnTo>
                <a:lnTo>
                  <a:pt x="4900461" y="3699716"/>
                </a:lnTo>
                <a:cubicBezTo>
                  <a:pt x="4913232" y="3698609"/>
                  <a:pt x="4946550" y="3689761"/>
                  <a:pt x="5027476" y="3657600"/>
                </a:cubicBezTo>
                <a:cubicBezTo>
                  <a:pt x="5052780" y="3651849"/>
                  <a:pt x="5015974" y="3680028"/>
                  <a:pt x="5034377" y="3678303"/>
                </a:cubicBezTo>
                <a:cubicBezTo>
                  <a:pt x="5052780" y="3676578"/>
                  <a:pt x="5081822" y="3657815"/>
                  <a:pt x="5137894" y="3647248"/>
                </a:cubicBezTo>
                <a:cubicBezTo>
                  <a:pt x="5148246" y="3602391"/>
                  <a:pt x="5099363" y="3452866"/>
                  <a:pt x="5096487" y="3409159"/>
                </a:cubicBezTo>
                <a:cubicBezTo>
                  <a:pt x="5096128" y="3403696"/>
                  <a:pt x="5095565" y="3399685"/>
                  <a:pt x="5094938" y="3396790"/>
                </a:cubicBezTo>
                <a:lnTo>
                  <a:pt x="5093612" y="3392894"/>
                </a:lnTo>
                <a:lnTo>
                  <a:pt x="5098342" y="3395158"/>
                </a:lnTo>
                <a:cubicBezTo>
                  <a:pt x="5102845" y="3394916"/>
                  <a:pt x="5109903" y="3392427"/>
                  <a:pt x="5120641" y="3385005"/>
                </a:cubicBezTo>
                <a:cubicBezTo>
                  <a:pt x="5104538" y="3267686"/>
                  <a:pt x="4985673" y="2812319"/>
                  <a:pt x="4999871" y="2705244"/>
                </a:cubicBezTo>
                <a:lnTo>
                  <a:pt x="5034377" y="2639683"/>
                </a:lnTo>
                <a:cubicBezTo>
                  <a:pt x="5063132" y="2622430"/>
                  <a:pt x="5185327" y="2636544"/>
                  <a:pt x="5172399" y="2601727"/>
                </a:cubicBezTo>
                <a:cubicBezTo>
                  <a:pt x="5159471" y="2566910"/>
                  <a:pt x="5142062" y="2487139"/>
                  <a:pt x="5128260" y="2430780"/>
                </a:cubicBezTo>
                <a:lnTo>
                  <a:pt x="5089586" y="2263571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UA"/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BB818346-27E9-1DBE-E21F-20517335AE41}"/>
              </a:ext>
            </a:extLst>
          </p:cNvPr>
          <p:cNvSpPr/>
          <p:nvPr/>
        </p:nvSpPr>
        <p:spPr>
          <a:xfrm>
            <a:off x="3081579" y="3143014"/>
            <a:ext cx="1872000" cy="36679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0" rIns="0" bIns="0" rtlCol="0" anchor="ctr"/>
          <a:lstStyle/>
          <a:p>
            <a:r>
              <a:rPr lang="uk-UA" dirty="0">
                <a:solidFill>
                  <a:schemeClr val="bg1"/>
                </a:solidFill>
                <a:latin typeface="+mj-lt"/>
              </a:rPr>
              <a:t>Саксагань</a:t>
            </a:r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0" name="Picture 2" descr="Round Pushpin on Apple iOS 15.4">
            <a:extLst>
              <a:ext uri="{FF2B5EF4-FFF2-40B4-BE49-F238E27FC236}">
                <a16:creationId xmlns:a16="http://schemas.microsoft.com/office/drawing/2014/main" id="{2F20660F-E0E3-F5D8-3B8A-B4092275DB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425" y="3182410"/>
            <a:ext cx="288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035F06DD-49BF-F8C4-5997-0056FFF185C1}"/>
              </a:ext>
            </a:extLst>
          </p:cNvPr>
          <p:cNvSpPr/>
          <p:nvPr/>
        </p:nvSpPr>
        <p:spPr>
          <a:xfrm>
            <a:off x="6096000" y="2043404"/>
            <a:ext cx="6480000" cy="1260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0" rIns="720000" rtlCol="0" anchor="ctr"/>
          <a:lstStyle/>
          <a:p>
            <a:r>
              <a:rPr lang="uk-UA" sz="1400" dirty="0">
                <a:solidFill>
                  <a:schemeClr val="tx1"/>
                </a:solidFill>
              </a:rPr>
              <a:t>Міняти інформацію</a:t>
            </a:r>
          </a:p>
        </p:txBody>
      </p:sp>
      <p:pic>
        <p:nvPicPr>
          <p:cNvPr id="9" name="Graphic 2" descr="Agriculture with solid fill">
            <a:extLst>
              <a:ext uri="{FF2B5EF4-FFF2-40B4-BE49-F238E27FC236}">
                <a16:creationId xmlns:a16="http://schemas.microsoft.com/office/drawing/2014/main" id="{5E136C25-1CE0-488B-256F-122457CA65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11077" y="2223404"/>
            <a:ext cx="900000" cy="900000"/>
          </a:xfrm>
          <a:prstGeom prst="roundRect">
            <a:avLst>
              <a:gd name="adj" fmla="val 39796"/>
            </a:avLst>
          </a:prstGeom>
        </p:spPr>
      </p:pic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3FE73425-F1F0-695A-6179-D80481A4AE12}"/>
              </a:ext>
            </a:extLst>
          </p:cNvPr>
          <p:cNvSpPr/>
          <p:nvPr/>
        </p:nvSpPr>
        <p:spPr>
          <a:xfrm>
            <a:off x="6096000" y="3470988"/>
            <a:ext cx="6480000" cy="1260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0" rIns="720000" rtlCol="0" anchor="ctr"/>
          <a:lstStyle/>
          <a:p>
            <a:r>
              <a:rPr lang="uk-UA" sz="1400" dirty="0">
                <a:solidFill>
                  <a:schemeClr val="tx1"/>
                </a:solidFill>
              </a:rPr>
              <a:t>Міняти інформацію</a:t>
            </a:r>
          </a:p>
        </p:txBody>
      </p:sp>
      <p:pic>
        <p:nvPicPr>
          <p:cNvPr id="13" name="Graphic 4" descr="Cycle with people with solid fill">
            <a:extLst>
              <a:ext uri="{FF2B5EF4-FFF2-40B4-BE49-F238E27FC236}">
                <a16:creationId xmlns:a16="http://schemas.microsoft.com/office/drawing/2014/main" id="{832B9E13-7554-6671-8C5A-F47476FBA80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11077" y="3650988"/>
            <a:ext cx="900000" cy="900000"/>
          </a:xfrm>
          <a:prstGeom prst="rect">
            <a:avLst/>
          </a:prstGeom>
        </p:spPr>
      </p:pic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2ADF7444-250A-3971-E547-2E7C23462EF6}"/>
              </a:ext>
            </a:extLst>
          </p:cNvPr>
          <p:cNvSpPr/>
          <p:nvPr/>
        </p:nvSpPr>
        <p:spPr>
          <a:xfrm>
            <a:off x="6096000" y="4898571"/>
            <a:ext cx="6480000" cy="12600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0" rIns="720000" rtlCol="0" anchor="ctr"/>
          <a:lstStyle/>
          <a:p>
            <a:r>
              <a:rPr lang="uk-UA" sz="1400" dirty="0">
                <a:solidFill>
                  <a:schemeClr val="tx1"/>
                </a:solidFill>
              </a:rPr>
              <a:t>Міняти інформацію</a:t>
            </a:r>
          </a:p>
        </p:txBody>
      </p:sp>
      <p:pic>
        <p:nvPicPr>
          <p:cNvPr id="21" name="Graphic 8" descr="Bar chart with solid fill">
            <a:extLst>
              <a:ext uri="{FF2B5EF4-FFF2-40B4-BE49-F238E27FC236}">
                <a16:creationId xmlns:a16="http://schemas.microsoft.com/office/drawing/2014/main" id="{0B8FDCEC-E77F-72DF-1429-5AB0EE6236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211077" y="5078571"/>
            <a:ext cx="900000" cy="900000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51E24C2-9CC9-611A-912D-6988A0B2612E}"/>
              </a:ext>
            </a:extLst>
          </p:cNvPr>
          <p:cNvSpPr/>
          <p:nvPr/>
        </p:nvSpPr>
        <p:spPr>
          <a:xfrm>
            <a:off x="625151" y="549275"/>
            <a:ext cx="10565858" cy="504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FA11B70-03DF-6E5D-2616-9F038A73381C}"/>
              </a:ext>
            </a:extLst>
          </p:cNvPr>
          <p:cNvSpPr/>
          <p:nvPr/>
        </p:nvSpPr>
        <p:spPr>
          <a:xfrm>
            <a:off x="625151" y="1063666"/>
            <a:ext cx="9682631" cy="504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684460-EB2B-1D5B-C0CA-87BA98ED8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uk-UA" dirty="0"/>
              <a:t>Саксаганська громада – потенційний осередок економічного зростання Дніпропетровщини</a:t>
            </a:r>
          </a:p>
        </p:txBody>
      </p:sp>
    </p:spTree>
    <p:extLst>
      <p:ext uri="{BB962C8B-B14F-4D97-AF65-F5344CB8AC3E}">
        <p14:creationId xmlns:p14="http://schemas.microsoft.com/office/powerpoint/2010/main" val="13805878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AAA58AB-21BE-1163-A350-F673B942EA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341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AAA58AB-21BE-1163-A350-F673B942E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6254B4-26CC-E4C5-15D6-2853E65A2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ru-RU" sz="3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ійна</a:t>
            </a:r>
            <a:r>
              <a:rPr lang="ru-RU" sz="3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негативно </a:t>
            </a:r>
            <a:r>
              <a:rPr lang="ru-RU" sz="3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плинула</a:t>
            </a:r>
            <a:r>
              <a:rPr lang="ru-RU" sz="3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на </a:t>
            </a:r>
            <a:r>
              <a:rPr lang="ru-RU" sz="3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економічну</a:t>
            </a:r>
            <a:r>
              <a:rPr lang="ru-RU" sz="3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3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активність</a:t>
            </a:r>
            <a:r>
              <a:rPr lang="ru-RU" sz="3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в </a:t>
            </a:r>
            <a:r>
              <a:rPr lang="ru-RU" sz="3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громаді</a:t>
            </a:r>
            <a:r>
              <a:rPr lang="ru-RU" sz="3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та </a:t>
            </a:r>
            <a:r>
              <a:rPr lang="ru-RU" sz="3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збільшила</a:t>
            </a:r>
            <a:r>
              <a:rPr lang="ru-RU" sz="3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потребу в </a:t>
            </a:r>
            <a:r>
              <a:rPr lang="ru-RU" sz="3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оціальній</a:t>
            </a:r>
            <a:r>
              <a:rPr lang="ru-RU" sz="3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3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ідтримці</a:t>
            </a:r>
            <a:r>
              <a:rPr lang="ru-RU" sz="3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для </a:t>
            </a:r>
            <a:r>
              <a:rPr lang="ru-RU" sz="3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аселення</a:t>
            </a:r>
            <a:endParaRPr lang="uk-UA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52B0C3-CA8D-8CD9-DBB4-7A289BBF00E0}"/>
              </a:ext>
            </a:extLst>
          </p:cNvPr>
          <p:cNvSpPr txBox="1"/>
          <p:nvPr/>
        </p:nvSpPr>
        <p:spPr>
          <a:xfrm>
            <a:off x="695325" y="2362922"/>
            <a:ext cx="10801350" cy="972559"/>
          </a:xfrm>
          <a:prstGeom prst="rect">
            <a:avLst/>
          </a:prstGeom>
          <a:noFill/>
        </p:spPr>
        <p:txBody>
          <a:bodyPr wrap="square" lIns="0" tIns="0" rIns="0" bIns="0" numCol="2" rtlCol="0">
            <a:noAutofit/>
          </a:bodyPr>
          <a:lstStyle/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Знизився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івень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матеріального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стану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імей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скільки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частина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людей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тратила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роботу</a:t>
            </a:r>
          </a:p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аселення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емоційно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иснажене</a:t>
            </a:r>
            <a:endParaRPr lang="ru-RU" sz="1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Знизився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охід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ільського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бюджету,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скільки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еякі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a typeface="Calibri" panose="020F0502020204030204" pitchFamily="34" charset="0"/>
                <a:cs typeface="Times New Roman" panose="02020603050405020304" pitchFamily="18" charset="0"/>
              </a:rPr>
              <a:t>ФОП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рипинили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або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уттєво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коротили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свою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іяльність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магазини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бробіток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землі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тощо</a:t>
            </a:r>
            <a:r>
              <a:rPr lang="ru-RU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076B0E94-C775-BECC-7747-072124AFD6CC}"/>
              </a:ext>
            </a:extLst>
          </p:cNvPr>
          <p:cNvSpPr/>
          <p:nvPr/>
        </p:nvSpPr>
        <p:spPr>
          <a:xfrm flipH="1">
            <a:off x="695323" y="4384964"/>
            <a:ext cx="4178013" cy="2794311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216000" rtlCol="0" anchor="t"/>
          <a:lstStyle/>
          <a:p>
            <a:pPr algn="ctr"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Як мінімум </a:t>
            </a:r>
            <a:r>
              <a:rPr lang="uk-UA" sz="3600" dirty="0">
                <a:solidFill>
                  <a:schemeClr val="accent6"/>
                </a:solidFill>
                <a:latin typeface="+mj-lt"/>
              </a:rPr>
              <a:t>7</a:t>
            </a:r>
            <a:r>
              <a:rPr lang="uk-UA" sz="3600" dirty="0">
                <a:solidFill>
                  <a:schemeClr val="tx2"/>
                </a:solidFill>
                <a:latin typeface="+mj-lt"/>
              </a:rPr>
              <a:t> </a:t>
            </a:r>
            <a:r>
              <a:rPr lang="uk-UA" sz="1600" dirty="0" err="1">
                <a:solidFill>
                  <a:schemeClr val="tx2"/>
                </a:solidFill>
                <a:latin typeface="+mj-lt"/>
              </a:rPr>
              <a:t>ФОПів</a:t>
            </a:r>
            <a:br>
              <a:rPr lang="uk-UA" sz="1600" dirty="0">
                <a:solidFill>
                  <a:schemeClr val="tx2"/>
                </a:solidFill>
                <a:latin typeface="+mj-lt"/>
              </a:rPr>
            </a:br>
            <a:r>
              <a:rPr lang="uk-UA" sz="1600" dirty="0" err="1">
                <a:solidFill>
                  <a:schemeClr val="tx2"/>
                </a:solidFill>
                <a:latin typeface="+mj-lt"/>
              </a:rPr>
              <a:t>принили</a:t>
            </a:r>
            <a:r>
              <a:rPr lang="uk-UA" sz="1600" dirty="0">
                <a:solidFill>
                  <a:schemeClr val="tx2"/>
                </a:solidFill>
                <a:latin typeface="+mj-lt"/>
              </a:rPr>
              <a:t> свою діяльність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62AA4BBF-30C1-D302-6490-42FF5BF4FAD6}"/>
              </a:ext>
            </a:extLst>
          </p:cNvPr>
          <p:cNvSpPr/>
          <p:nvPr/>
        </p:nvSpPr>
        <p:spPr>
          <a:xfrm flipH="1">
            <a:off x="5683827" y="4384964"/>
            <a:ext cx="5812848" cy="2794311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216000" rtlCol="0" anchor="t"/>
          <a:lstStyle/>
          <a:p>
            <a:pPr algn="ctr"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Як мінімум </a:t>
            </a:r>
            <a:r>
              <a:rPr lang="uk-UA" sz="3600" dirty="0">
                <a:solidFill>
                  <a:schemeClr val="accent6"/>
                </a:solidFill>
                <a:latin typeface="+mj-lt"/>
              </a:rPr>
              <a:t>1 000 000</a:t>
            </a:r>
            <a:r>
              <a:rPr lang="uk-UA" sz="3600" dirty="0">
                <a:solidFill>
                  <a:schemeClr val="tx2"/>
                </a:solidFill>
                <a:latin typeface="+mj-lt"/>
              </a:rPr>
              <a:t> </a:t>
            </a:r>
            <a:r>
              <a:rPr lang="uk-UA" sz="1600" dirty="0">
                <a:solidFill>
                  <a:schemeClr val="tx2"/>
                </a:solidFill>
                <a:latin typeface="+mj-lt"/>
              </a:rPr>
              <a:t>грн</a:t>
            </a:r>
            <a:br>
              <a:rPr lang="uk-UA" sz="1600" dirty="0">
                <a:solidFill>
                  <a:schemeClr val="tx2"/>
                </a:solidFill>
                <a:latin typeface="+mj-lt"/>
              </a:rPr>
            </a:br>
            <a:r>
              <a:rPr lang="uk-UA" sz="1600" dirty="0">
                <a:solidFill>
                  <a:schemeClr val="tx2"/>
                </a:solidFill>
                <a:latin typeface="+mj-lt"/>
              </a:rPr>
              <a:t>недоотримав місцевий бюджет за 8 місяців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F8FDA0BB-E31B-4613-A377-01031F139521}"/>
              </a:ext>
            </a:extLst>
          </p:cNvPr>
          <p:cNvGrpSpPr/>
          <p:nvPr/>
        </p:nvGrpSpPr>
        <p:grpSpPr>
          <a:xfrm>
            <a:off x="3127380" y="3263760"/>
            <a:ext cx="3738600" cy="932400"/>
            <a:chOff x="3127380" y="3263760"/>
            <a:chExt cx="3738600" cy="9324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22" name="Рукописный ввод 21">
                  <a:extLst>
                    <a:ext uri="{FF2B5EF4-FFF2-40B4-BE49-F238E27FC236}">
                      <a16:creationId xmlns:a16="http://schemas.microsoft.com/office/drawing/2014/main" id="{57B3B51E-9974-215E-34EA-E2A542004ED9}"/>
                    </a:ext>
                  </a:extLst>
                </p14:cNvPr>
                <p14:cNvContentPartPr/>
                <p14:nvPr/>
              </p14:nvContentPartPr>
              <p14:xfrm>
                <a:off x="3143940" y="3263760"/>
                <a:ext cx="3722040" cy="932400"/>
              </p14:xfrm>
            </p:contentPart>
          </mc:Choice>
          <mc:Fallback xmlns="">
            <p:pic>
              <p:nvPicPr>
                <p:cNvPr id="22" name="Рукописный ввод 21">
                  <a:extLst>
                    <a:ext uri="{FF2B5EF4-FFF2-40B4-BE49-F238E27FC236}">
                      <a16:creationId xmlns:a16="http://schemas.microsoft.com/office/drawing/2014/main" id="{57B3B51E-9974-215E-34EA-E2A542004ED9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3134940" y="3255120"/>
                  <a:ext cx="3739680" cy="950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23" name="Рукописный ввод 22">
                  <a:extLst>
                    <a:ext uri="{FF2B5EF4-FFF2-40B4-BE49-F238E27FC236}">
                      <a16:creationId xmlns:a16="http://schemas.microsoft.com/office/drawing/2014/main" id="{08A69A4A-6D85-2133-CA3E-5295463186D8}"/>
                    </a:ext>
                  </a:extLst>
                </p14:cNvPr>
                <p14:cNvContentPartPr/>
                <p14:nvPr/>
              </p14:nvContentPartPr>
              <p14:xfrm>
                <a:off x="3127380" y="3807360"/>
                <a:ext cx="228600" cy="370080"/>
              </p14:xfrm>
            </p:contentPart>
          </mc:Choice>
          <mc:Fallback xmlns="">
            <p:pic>
              <p:nvPicPr>
                <p:cNvPr id="23" name="Рукописный ввод 22">
                  <a:extLst>
                    <a:ext uri="{FF2B5EF4-FFF2-40B4-BE49-F238E27FC236}">
                      <a16:creationId xmlns:a16="http://schemas.microsoft.com/office/drawing/2014/main" id="{08A69A4A-6D85-2133-CA3E-5295463186D8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3118380" y="3798720"/>
                  <a:ext cx="246240" cy="38772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B38A71CD-700D-3891-BD59-62C040B043B3}"/>
              </a:ext>
            </a:extLst>
          </p:cNvPr>
          <p:cNvGrpSpPr/>
          <p:nvPr/>
        </p:nvGrpSpPr>
        <p:grpSpPr>
          <a:xfrm>
            <a:off x="7259460" y="3311640"/>
            <a:ext cx="1724040" cy="906120"/>
            <a:chOff x="7259460" y="3311640"/>
            <a:chExt cx="1724040" cy="906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26" name="Рукописный ввод 25">
                  <a:extLst>
                    <a:ext uri="{FF2B5EF4-FFF2-40B4-BE49-F238E27FC236}">
                      <a16:creationId xmlns:a16="http://schemas.microsoft.com/office/drawing/2014/main" id="{C5D3D23B-584D-9F1B-2BD4-16995A727FD7}"/>
                    </a:ext>
                  </a:extLst>
                </p14:cNvPr>
                <p14:cNvContentPartPr/>
                <p14:nvPr/>
              </p14:nvContentPartPr>
              <p14:xfrm>
                <a:off x="7259460" y="3311640"/>
                <a:ext cx="1602360" cy="801720"/>
              </p14:xfrm>
            </p:contentPart>
          </mc:Choice>
          <mc:Fallback xmlns="">
            <p:pic>
              <p:nvPicPr>
                <p:cNvPr id="26" name="Рукописный ввод 25">
                  <a:extLst>
                    <a:ext uri="{FF2B5EF4-FFF2-40B4-BE49-F238E27FC236}">
                      <a16:creationId xmlns:a16="http://schemas.microsoft.com/office/drawing/2014/main" id="{C5D3D23B-584D-9F1B-2BD4-16995A727FD7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250460" y="3303000"/>
                  <a:ext cx="1620000" cy="819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27" name="Рукописный ввод 26">
                  <a:extLst>
                    <a:ext uri="{FF2B5EF4-FFF2-40B4-BE49-F238E27FC236}">
                      <a16:creationId xmlns:a16="http://schemas.microsoft.com/office/drawing/2014/main" id="{A7F101F1-34A9-B164-49DE-702EC5582F02}"/>
                    </a:ext>
                  </a:extLst>
                </p14:cNvPr>
                <p14:cNvContentPartPr/>
                <p14:nvPr/>
              </p14:nvContentPartPr>
              <p14:xfrm>
                <a:off x="8620620" y="3844080"/>
                <a:ext cx="362880" cy="373680"/>
              </p14:xfrm>
            </p:contentPart>
          </mc:Choice>
          <mc:Fallback xmlns="">
            <p:pic>
              <p:nvPicPr>
                <p:cNvPr id="27" name="Рукописный ввод 26">
                  <a:extLst>
                    <a:ext uri="{FF2B5EF4-FFF2-40B4-BE49-F238E27FC236}">
                      <a16:creationId xmlns:a16="http://schemas.microsoft.com/office/drawing/2014/main" id="{A7F101F1-34A9-B164-49DE-702EC5582F02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8611980" y="3835440"/>
                  <a:ext cx="380520" cy="39132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4" name="Picture 2" descr="Check Mark Button on Apple iOS 15.4">
            <a:extLst>
              <a:ext uri="{FF2B5EF4-FFF2-40B4-BE49-F238E27FC236}">
                <a16:creationId xmlns:a16="http://schemas.microsoft.com/office/drawing/2014/main" id="{BFBA6D7F-B6FA-4738-7C47-C20C83E9DC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5412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E0404D-0142-C63B-3EDF-6758CE7CD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8767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CE0404D-0142-C63B-3EDF-6758CE7CD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0" name="Picture 6" descr="У Львові хочуть відкрити Музей у темряві “Третя після опівночі” | Новини">
            <a:extLst>
              <a:ext uri="{FF2B5EF4-FFF2-40B4-BE49-F238E27FC236}">
                <a16:creationId xmlns:a16="http://schemas.microsoft.com/office/drawing/2014/main" id="{57BD0EA6-B605-D9A2-0F17-110DD994BD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7" r="30925"/>
          <a:stretch/>
        </p:blipFill>
        <p:spPr bwMode="auto">
          <a:xfrm>
            <a:off x="7026248" y="3788725"/>
            <a:ext cx="2520000" cy="252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Wood Luck Design | kids furniture">
            <a:extLst>
              <a:ext uri="{FF2B5EF4-FFF2-40B4-BE49-F238E27FC236}">
                <a16:creationId xmlns:a16="http://schemas.microsoft.com/office/drawing/2014/main" id="{00FFA983-0ADF-599E-22B7-18CE329684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976675" y="1916113"/>
            <a:ext cx="2520000" cy="252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ADCA2DF-5C4A-FDCE-E52F-FFA285DD4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На </a:t>
            </a:r>
            <a:r>
              <a:rPr lang="ru-RU" dirty="0" err="1"/>
              <a:t>якийсь</a:t>
            </a:r>
            <a:r>
              <a:rPr lang="ru-RU" dirty="0"/>
              <a:t> </a:t>
            </a:r>
            <a:r>
              <a:rPr lang="ru-RU" dirty="0" err="1"/>
              <a:t>інший</a:t>
            </a:r>
            <a:r>
              <a:rPr lang="ru-RU" dirty="0"/>
              <a:t> заголовок</a:t>
            </a:r>
            <a:endParaRPr lang="uk-UA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0013BE-2265-820D-1129-50C2F0BA4D62}"/>
              </a:ext>
            </a:extLst>
          </p:cNvPr>
          <p:cNvSpPr txBox="1"/>
          <p:nvPr/>
        </p:nvSpPr>
        <p:spPr>
          <a:xfrm>
            <a:off x="695326" y="1916114"/>
            <a:ext cx="3600000" cy="1556292"/>
          </a:xfrm>
          <a:prstGeom prst="rect">
            <a:avLst/>
          </a:prstGeom>
          <a:noFill/>
        </p:spPr>
        <p:txBody>
          <a:bodyPr wrap="square" lIns="0" tIns="0" rIns="0" bIns="0" numCol="1" spcCol="180000" rtlCol="0">
            <a:noAutofit/>
          </a:bodyPr>
          <a:lstStyle>
            <a:defPPr>
              <a:defRPr lang="ru-UA"/>
            </a:defPPr>
            <a:lvl1pPr marL="285750" indent="-28575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  <a:defRPr sz="1400">
                <a:effectLst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marL="0" indent="0">
              <a:buNone/>
            </a:pPr>
            <a:r>
              <a:rPr lang="uk-UA" dirty="0"/>
              <a:t>Щось там напишемо</a:t>
            </a:r>
          </a:p>
        </p:txBody>
      </p:sp>
      <p:pic>
        <p:nvPicPr>
          <p:cNvPr id="1026" name="Picture 2" descr="Украинский ресторан Urban Space 100 в статье Forbes - новости Киева на БЖ">
            <a:extLst>
              <a:ext uri="{FF2B5EF4-FFF2-40B4-BE49-F238E27FC236}">
                <a16:creationId xmlns:a16="http://schemas.microsoft.com/office/drawing/2014/main" id="{F3638151-BE08-D77A-E432-C1D1F18E92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69" r="4881"/>
          <a:stretch/>
        </p:blipFill>
        <p:spPr bwMode="auto">
          <a:xfrm>
            <a:off x="5075821" y="1916113"/>
            <a:ext cx="2520000" cy="252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Овал 13">
            <a:extLst>
              <a:ext uri="{FF2B5EF4-FFF2-40B4-BE49-F238E27FC236}">
                <a16:creationId xmlns:a16="http://schemas.microsoft.com/office/drawing/2014/main" id="{E9FA9B92-7840-BC2C-8D01-D0CA2FF0829B}"/>
              </a:ext>
            </a:extLst>
          </p:cNvPr>
          <p:cNvSpPr/>
          <p:nvPr/>
        </p:nvSpPr>
        <p:spPr>
          <a:xfrm>
            <a:off x="7446227" y="2971190"/>
            <a:ext cx="324000" cy="324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36000" rtlCol="0" anchor="ctr"/>
          <a:lstStyle/>
          <a:p>
            <a:pPr algn="ctr"/>
            <a:r>
              <a:rPr lang="en-US" sz="1600" dirty="0">
                <a:latin typeface="+mj-lt"/>
              </a:rPr>
              <a:t>1</a:t>
            </a:r>
            <a:endParaRPr lang="ru-RU" sz="1600" dirty="0">
              <a:latin typeface="+mj-lt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6C000D60-FBEC-9F62-0859-E4EE0CE174CF}"/>
              </a:ext>
            </a:extLst>
          </p:cNvPr>
          <p:cNvSpPr/>
          <p:nvPr/>
        </p:nvSpPr>
        <p:spPr>
          <a:xfrm>
            <a:off x="8807863" y="2971190"/>
            <a:ext cx="324000" cy="324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36000" rtlCol="0" anchor="ctr"/>
          <a:lstStyle/>
          <a:p>
            <a:pPr algn="ctr"/>
            <a:r>
              <a:rPr lang="en-US" sz="1600" dirty="0">
                <a:latin typeface="+mj-lt"/>
              </a:rPr>
              <a:t>2</a:t>
            </a:r>
            <a:endParaRPr lang="ru-RU" sz="1600" dirty="0">
              <a:latin typeface="+mj-lt"/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44045980-AE27-6FEE-9C8C-D4B123F6F0C6}"/>
              </a:ext>
            </a:extLst>
          </p:cNvPr>
          <p:cNvSpPr/>
          <p:nvPr/>
        </p:nvSpPr>
        <p:spPr>
          <a:xfrm>
            <a:off x="8124248" y="3620633"/>
            <a:ext cx="324000" cy="324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36000" rtlCol="0" anchor="ctr"/>
          <a:lstStyle/>
          <a:p>
            <a:pPr algn="ctr"/>
            <a:r>
              <a:rPr lang="en-US" sz="1600" dirty="0">
                <a:latin typeface="+mj-lt"/>
              </a:rPr>
              <a:t>3</a:t>
            </a:r>
            <a:endParaRPr lang="ru-RU" sz="1600" dirty="0">
              <a:latin typeface="+mj-lt"/>
            </a:endParaRPr>
          </a:p>
        </p:txBody>
      </p:sp>
      <p:pic>
        <p:nvPicPr>
          <p:cNvPr id="4" name="Picture 2" descr="Check Mark Button on Apple iOS 15.4">
            <a:extLst>
              <a:ext uri="{FF2B5EF4-FFF2-40B4-BE49-F238E27FC236}">
                <a16:creationId xmlns:a16="http://schemas.microsoft.com/office/drawing/2014/main" id="{458904F3-005C-BEAD-DC79-B2AA9A294E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19028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9C960BC-B0FA-B7FD-C872-02A2A1A376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2060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9C960BC-B0FA-B7FD-C872-02A2A1A376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40C8A77-BA7D-78B0-BFDA-37C7844FB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uk-UA" dirty="0"/>
              <a:t>Громада виділила можливі напрямки роботи соціального підприємств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CFF90B-F7B6-88A3-0E82-20D376DD7C7D}"/>
              </a:ext>
            </a:extLst>
          </p:cNvPr>
          <p:cNvSpPr txBox="1"/>
          <p:nvPr/>
        </p:nvSpPr>
        <p:spPr>
          <a:xfrm>
            <a:off x="695325" y="1916113"/>
            <a:ext cx="6464011" cy="43405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Швейний цех з виготовлення кухонних речей (</a:t>
            </a:r>
            <a:r>
              <a:rPr lang="uk-UA" sz="1400" b="0" i="0" dirty="0" err="1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прихваток</a:t>
            </a: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, фартушків тощо) та відділ «</a:t>
            </a:r>
            <a:r>
              <a:rPr lang="uk-UA" sz="1400" b="0" i="0" dirty="0" err="1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тюнінгу</a:t>
            </a: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» (нанесення на пошиті речі </a:t>
            </a:r>
            <a:r>
              <a:rPr lang="uk-UA" sz="1400" b="0" i="0" dirty="0" err="1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принтів</a:t>
            </a: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 з фразами, логотипом громади чи будь-яких інших на замовлення)</a:t>
            </a:r>
          </a:p>
          <a:p>
            <a:pPr marL="34290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Переробка вторинної сировини, а саме – пластику. </a:t>
            </a:r>
            <a:r>
              <a:rPr lang="uk-UA" sz="1400" dirty="0">
                <a:solidFill>
                  <a:srgbClr val="2F2F2F"/>
                </a:solidFill>
                <a:latin typeface="Roboto" panose="02000000000000000000" pitchFamily="2" charset="0"/>
              </a:rPr>
              <a:t>В </a:t>
            </a: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шести населених пунктах громади встановлені саморобні контейнери для збору ресурсоцінної сировини (пластик, скло). Наразі </a:t>
            </a:r>
            <a:r>
              <a:rPr lang="uk-UA" sz="1400" dirty="0">
                <a:solidFill>
                  <a:srgbClr val="2F2F2F"/>
                </a:solidFill>
                <a:latin typeface="Roboto" panose="02000000000000000000" pitchFamily="2" charset="0"/>
              </a:rPr>
              <a:t>в</a:t>
            </a: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сю сировину самостійно забирає заготівельник із міста Жовті Води (25 км від громади). Варто врахувати, що в громади немає жодної одиниці техніки (трактор, вантажна машина), що унеможливлює збір і перевезення цих </a:t>
            </a:r>
            <a:r>
              <a:rPr lang="uk-UA" sz="1400" b="0" i="0" dirty="0" err="1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ресурсоцінних</a:t>
            </a: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 відходів до одного місця</a:t>
            </a:r>
          </a:p>
          <a:p>
            <a:pPr marL="34290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Виготовлення мила чи подібних продуктів</a:t>
            </a:r>
          </a:p>
          <a:p>
            <a:pPr marL="34290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Виготовлення біжутерії (браслетів, ланцюжків, </a:t>
            </a:r>
            <a:r>
              <a:rPr lang="uk-UA" sz="1400" b="0" i="0" dirty="0" err="1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брелоків</a:t>
            </a: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, тощо)</a:t>
            </a:r>
          </a:p>
          <a:p>
            <a:pPr marL="34290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uk-UA" sz="1400" dirty="0">
                <a:solidFill>
                  <a:srgbClr val="2F2F2F"/>
                </a:solidFill>
                <a:latin typeface="Roboto" panose="02000000000000000000" pitchFamily="2" charset="0"/>
              </a:rPr>
              <a:t>Виготовлення молочної продукції</a:t>
            </a:r>
          </a:p>
          <a:p>
            <a:pPr marL="342900" indent="-342900">
              <a:lnSpc>
                <a:spcPct val="11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uk-UA" sz="1400" b="0" i="0" dirty="0">
                <a:solidFill>
                  <a:srgbClr val="2F2F2F"/>
                </a:solidFill>
                <a:effectLst/>
                <a:latin typeface="Roboto" panose="02000000000000000000" pitchFamily="2" charset="0"/>
              </a:rPr>
              <a:t>Інші </a:t>
            </a:r>
            <a:r>
              <a:rPr lang="uk-UA" sz="1400" dirty="0">
                <a:solidFill>
                  <a:srgbClr val="2F2F2F"/>
                </a:solidFill>
                <a:latin typeface="Roboto" panose="02000000000000000000" pitchFamily="2" charset="0"/>
              </a:rPr>
              <a:t>креативні напрямки, що можуть бути </a:t>
            </a:r>
            <a:r>
              <a:rPr lang="uk-UA" sz="1400" dirty="0" err="1">
                <a:solidFill>
                  <a:srgbClr val="2F2F2F"/>
                </a:solidFill>
                <a:latin typeface="Roboto" panose="02000000000000000000" pitchFamily="2" charset="0"/>
              </a:rPr>
              <a:t>імплементовані</a:t>
            </a:r>
            <a:r>
              <a:rPr lang="uk-UA" sz="1400" dirty="0">
                <a:solidFill>
                  <a:srgbClr val="2F2F2F"/>
                </a:solidFill>
                <a:latin typeface="Roboto" panose="02000000000000000000" pitchFamily="2" charset="0"/>
              </a:rPr>
              <a:t> на території громади</a:t>
            </a:r>
            <a:endParaRPr lang="uk-UA" sz="1400" b="0" i="0" dirty="0">
              <a:solidFill>
                <a:srgbClr val="2F2F2F"/>
              </a:solidFill>
              <a:effectLst/>
              <a:latin typeface="Roboto" panose="02000000000000000000" pitchFamily="2" charset="0"/>
            </a:endParaRPr>
          </a:p>
        </p:txBody>
      </p:sp>
      <p:pic>
        <p:nvPicPr>
          <p:cNvPr id="1026" name="Picture 2" descr="Прихватка, SINSAY, 2701J-70X">
            <a:extLst>
              <a:ext uri="{FF2B5EF4-FFF2-40B4-BE49-F238E27FC236}">
                <a16:creationId xmlns:a16="http://schemas.microsoft.com/office/drawing/2014/main" id="{67627788-BDC3-E1E4-E8A9-3BB7A07CB4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63" b="11136"/>
          <a:stretch/>
        </p:blipFill>
        <p:spPr bwMode="auto">
          <a:xfrm>
            <a:off x="7460854" y="1916113"/>
            <a:ext cx="1800000" cy="18000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Вироби з переробленого пластику - блог компанії ТІС">
            <a:extLst>
              <a:ext uri="{FF2B5EF4-FFF2-40B4-BE49-F238E27FC236}">
                <a16:creationId xmlns:a16="http://schemas.microsoft.com/office/drawing/2014/main" id="{291AB86D-D858-100A-FE1A-EA00E35D56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91" r="16977"/>
          <a:stretch/>
        </p:blipFill>
        <p:spPr bwMode="auto">
          <a:xfrm>
            <a:off x="9696675" y="1916113"/>
            <a:ext cx="1800000" cy="18000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Біжутерія ручної роботи — цена 200 грн в каталоге Другие украшения ✓ Купить  женские вещи по доступной цене на Шафе | Украина #57435216">
            <a:extLst>
              <a:ext uri="{FF2B5EF4-FFF2-40B4-BE49-F238E27FC236}">
                <a16:creationId xmlns:a16="http://schemas.microsoft.com/office/drawing/2014/main" id="{7F7CD46F-D0DA-AC95-0784-09318854D5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27" b="9773"/>
          <a:stretch/>
        </p:blipFill>
        <p:spPr bwMode="auto">
          <a:xfrm>
            <a:off x="7460854" y="4456660"/>
            <a:ext cx="1800000" cy="18000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Молочна продукція значно подорожчає: коли та чому - Главком">
            <a:extLst>
              <a:ext uri="{FF2B5EF4-FFF2-40B4-BE49-F238E27FC236}">
                <a16:creationId xmlns:a16="http://schemas.microsoft.com/office/drawing/2014/main" id="{98767BBA-8F56-B2FB-25C5-267D910839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 bwMode="auto">
          <a:xfrm>
            <a:off x="9696675" y="4456660"/>
            <a:ext cx="1800000" cy="18000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Мило ручної роботи Апельсин і лаванда брускове 100г – в інтернет-магазині  ROZETKA | Купити в Україні: Києві, Харкові, Дніпрі, Одесі, Запоріжжі, Львові">
            <a:extLst>
              <a:ext uri="{FF2B5EF4-FFF2-40B4-BE49-F238E27FC236}">
                <a16:creationId xmlns:a16="http://schemas.microsoft.com/office/drawing/2014/main" id="{168ABDAD-1EAC-C68E-FAE1-CB87E530CB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24" r="27948"/>
          <a:stretch/>
        </p:blipFill>
        <p:spPr bwMode="auto">
          <a:xfrm>
            <a:off x="8581202" y="3186387"/>
            <a:ext cx="1800000" cy="180000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Овал 10">
            <a:extLst>
              <a:ext uri="{FF2B5EF4-FFF2-40B4-BE49-F238E27FC236}">
                <a16:creationId xmlns:a16="http://schemas.microsoft.com/office/drawing/2014/main" id="{358C6201-C9F8-F707-AB6B-193C57113D69}"/>
              </a:ext>
            </a:extLst>
          </p:cNvPr>
          <p:cNvSpPr/>
          <p:nvPr/>
        </p:nvSpPr>
        <p:spPr>
          <a:xfrm>
            <a:off x="8198854" y="1916113"/>
            <a:ext cx="324000" cy="324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36000" rtlCol="0" anchor="ctr"/>
          <a:lstStyle/>
          <a:p>
            <a:pPr algn="ctr"/>
            <a:r>
              <a:rPr lang="en-US" sz="1600" dirty="0">
                <a:latin typeface="+mj-lt"/>
              </a:rPr>
              <a:t>1</a:t>
            </a:r>
            <a:endParaRPr lang="ru-RU" sz="1600" dirty="0">
              <a:latin typeface="+mj-lt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46DD05C4-682D-AD56-39E8-D73870EB0CBF}"/>
              </a:ext>
            </a:extLst>
          </p:cNvPr>
          <p:cNvSpPr/>
          <p:nvPr/>
        </p:nvSpPr>
        <p:spPr>
          <a:xfrm>
            <a:off x="10434675" y="1916113"/>
            <a:ext cx="324000" cy="324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36000" rtlCol="0" anchor="ctr"/>
          <a:lstStyle/>
          <a:p>
            <a:pPr algn="ctr"/>
            <a:r>
              <a:rPr lang="ru-RU" sz="1600" dirty="0">
                <a:latin typeface="+mj-lt"/>
              </a:rPr>
              <a:t>2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C37F8F91-0778-0A2C-EE10-B20A80AC270A}"/>
              </a:ext>
            </a:extLst>
          </p:cNvPr>
          <p:cNvSpPr/>
          <p:nvPr/>
        </p:nvSpPr>
        <p:spPr>
          <a:xfrm>
            <a:off x="9319202" y="3924387"/>
            <a:ext cx="324000" cy="324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36000" rtlCol="0" anchor="ctr"/>
          <a:lstStyle/>
          <a:p>
            <a:pPr algn="ctr"/>
            <a:r>
              <a:rPr lang="uk-UA" sz="1600" dirty="0">
                <a:latin typeface="+mj-lt"/>
              </a:rPr>
              <a:t>3</a:t>
            </a:r>
            <a:endParaRPr lang="ru-RU" sz="1600" dirty="0">
              <a:latin typeface="+mj-lt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22449B1C-22B6-7468-F2B7-148A51248BE6}"/>
              </a:ext>
            </a:extLst>
          </p:cNvPr>
          <p:cNvSpPr/>
          <p:nvPr/>
        </p:nvSpPr>
        <p:spPr>
          <a:xfrm>
            <a:off x="8198854" y="5932660"/>
            <a:ext cx="324000" cy="324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36000" rtlCol="0" anchor="ctr"/>
          <a:lstStyle/>
          <a:p>
            <a:pPr algn="ctr"/>
            <a:r>
              <a:rPr lang="uk-UA" sz="1600" dirty="0">
                <a:latin typeface="+mj-lt"/>
              </a:rPr>
              <a:t>4</a:t>
            </a:r>
            <a:endParaRPr lang="ru-RU" sz="1600" dirty="0">
              <a:latin typeface="+mj-lt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7690D03B-7959-83D0-59A6-FBA1BAF57762}"/>
              </a:ext>
            </a:extLst>
          </p:cNvPr>
          <p:cNvSpPr/>
          <p:nvPr/>
        </p:nvSpPr>
        <p:spPr>
          <a:xfrm>
            <a:off x="10434675" y="5932660"/>
            <a:ext cx="324000" cy="3240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36000" rtlCol="0" anchor="ctr"/>
          <a:lstStyle/>
          <a:p>
            <a:pPr algn="ctr"/>
            <a:r>
              <a:rPr lang="uk-UA" sz="1600" dirty="0">
                <a:latin typeface="+mj-lt"/>
              </a:rPr>
              <a:t>5</a:t>
            </a:r>
            <a:endParaRPr lang="ru-RU" sz="1600" dirty="0">
              <a:latin typeface="+mj-lt"/>
            </a:endParaRPr>
          </a:p>
        </p:txBody>
      </p:sp>
      <p:pic>
        <p:nvPicPr>
          <p:cNvPr id="4" name="Picture 2" descr="Check Mark Button on Apple iOS 15.4">
            <a:extLst>
              <a:ext uri="{FF2B5EF4-FFF2-40B4-BE49-F238E27FC236}">
                <a16:creationId xmlns:a16="http://schemas.microsoft.com/office/drawing/2014/main" id="{27010919-C2D5-B135-8589-4B5E6CE602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1992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4CEA50C-06A6-7BDB-3C16-B1D198E8F1DD}"/>
              </a:ext>
            </a:extLst>
          </p:cNvPr>
          <p:cNvSpPr/>
          <p:nvPr/>
        </p:nvSpPr>
        <p:spPr>
          <a:xfrm>
            <a:off x="0" y="-1"/>
            <a:ext cx="12192000" cy="34290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bIns="360000" rtlCol="0" anchor="b"/>
          <a:lstStyle/>
          <a:p>
            <a:r>
              <a:rPr lang="uk-UA" sz="4000" dirty="0">
                <a:latin typeface="+mj-lt"/>
              </a:rPr>
              <a:t>ЗАВДАННЯ КЕЙСУ</a:t>
            </a:r>
            <a:endParaRPr lang="ru-UA" sz="4000" dirty="0">
              <a:latin typeface="+mj-lt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CE33FB8-6E0E-515B-C48A-4D4BC2F39E2A}"/>
              </a:ext>
            </a:extLst>
          </p:cNvPr>
          <p:cNvSpPr/>
          <p:nvPr/>
        </p:nvSpPr>
        <p:spPr>
          <a:xfrm>
            <a:off x="0" y="3428999"/>
            <a:ext cx="12192000" cy="342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0" tIns="360000" bIns="360000" rtlCol="0" anchor="t"/>
          <a:lstStyle/>
          <a:p>
            <a:r>
              <a:rPr lang="ru-RU" sz="4000" dirty="0" err="1">
                <a:solidFill>
                  <a:schemeClr val="tx1"/>
                </a:solidFill>
                <a:latin typeface="+mj-lt"/>
              </a:rPr>
              <a:t>Розробити</a:t>
            </a:r>
            <a:r>
              <a:rPr lang="ru-RU" sz="40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4000" dirty="0" err="1">
                <a:solidFill>
                  <a:schemeClr val="tx1"/>
                </a:solidFill>
                <a:latin typeface="+mj-lt"/>
              </a:rPr>
              <a:t>концепцію</a:t>
            </a:r>
            <a:r>
              <a:rPr lang="ru-RU" sz="40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4000" dirty="0" err="1">
                <a:solidFill>
                  <a:schemeClr val="tx1"/>
                </a:solidFill>
                <a:latin typeface="+mj-lt"/>
              </a:rPr>
              <a:t>соціального</a:t>
            </a:r>
            <a:r>
              <a:rPr lang="ru-RU" sz="40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4000" dirty="0" err="1">
                <a:solidFill>
                  <a:schemeClr val="tx1"/>
                </a:solidFill>
                <a:latin typeface="+mj-lt"/>
              </a:rPr>
              <a:t>підприємства</a:t>
            </a:r>
            <a:r>
              <a:rPr lang="ru-RU" sz="4000" dirty="0">
                <a:solidFill>
                  <a:schemeClr val="tx1"/>
                </a:solidFill>
                <a:latin typeface="+mj-lt"/>
              </a:rPr>
              <a:t> у </a:t>
            </a:r>
            <a:r>
              <a:rPr lang="ru-RU" sz="4000" dirty="0" err="1">
                <a:solidFill>
                  <a:schemeClr val="tx1"/>
                </a:solidFill>
                <a:latin typeface="+mj-lt"/>
              </a:rPr>
              <a:t>громаді</a:t>
            </a:r>
            <a:endParaRPr lang="ru-RU" sz="40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3" name="Picture 2" descr="Check Mark Button on Apple iOS 15.4">
            <a:extLst>
              <a:ext uri="{FF2B5EF4-FFF2-40B4-BE49-F238E27FC236}">
                <a16:creationId xmlns:a16="http://schemas.microsoft.com/office/drawing/2014/main" id="{B0AA3ED3-220C-8CE5-1A72-183BEFC9B3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7031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B653CE-F36B-F172-D6FB-FDD8CEB8B4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3851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B653CE-F36B-F172-D6FB-FDD8CEB8B4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78B3F8-9855-9F7A-5141-EF78BE550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err="1"/>
              <a:t>Запропоноване</a:t>
            </a:r>
            <a:r>
              <a:rPr lang="ru-RU" dirty="0"/>
              <a:t> </a:t>
            </a:r>
            <a:r>
              <a:rPr lang="ru-RU" dirty="0" err="1"/>
              <a:t>рішення</a:t>
            </a:r>
            <a:r>
              <a:rPr lang="ru-RU" dirty="0"/>
              <a:t> </a:t>
            </a:r>
            <a:r>
              <a:rPr lang="ru-RU" dirty="0" err="1"/>
              <a:t>має</a:t>
            </a:r>
            <a:r>
              <a:rPr lang="ru-RU" dirty="0"/>
              <a:t> </a:t>
            </a:r>
            <a:r>
              <a:rPr lang="ru-RU" dirty="0" err="1"/>
              <a:t>містити</a:t>
            </a:r>
            <a:r>
              <a:rPr lang="ru-RU" dirty="0"/>
              <a:t> </a:t>
            </a:r>
            <a:r>
              <a:rPr lang="en-US" dirty="0">
                <a:solidFill>
                  <a:schemeClr val="tx2"/>
                </a:solidFill>
                <a:sym typeface="Wingdings" panose="05000000000000000000" pitchFamily="2" charset="2"/>
              </a:rPr>
              <a:t>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A3448A9F-0516-CCD2-5058-56C9DEB71641}"/>
              </a:ext>
            </a:extLst>
          </p:cNvPr>
          <p:cNvSpPr/>
          <p:nvPr/>
        </p:nvSpPr>
        <p:spPr>
          <a:xfrm flipH="1">
            <a:off x="695325" y="1916112"/>
            <a:ext cx="3240000" cy="526316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216000" rtlCol="0" anchor="t"/>
          <a:lstStyle/>
          <a:p>
            <a:pPr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ХХХХ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  <a:p>
            <a:pPr>
              <a:spcAft>
                <a:spcPts val="1800"/>
              </a:spcAft>
            </a:pPr>
            <a:r>
              <a:rPr lang="ru-RU" sz="1400" dirty="0" err="1">
                <a:solidFill>
                  <a:schemeClr val="tx1"/>
                </a:solidFill>
              </a:rPr>
              <a:t>Писати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щось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своє</a:t>
            </a:r>
            <a:endParaRPr lang="uk-UA" sz="14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D84A7D60-3592-6F25-FC02-5F1B1652A0C1}"/>
              </a:ext>
            </a:extLst>
          </p:cNvPr>
          <p:cNvSpPr/>
          <p:nvPr/>
        </p:nvSpPr>
        <p:spPr>
          <a:xfrm flipH="1">
            <a:off x="4476000" y="1916112"/>
            <a:ext cx="3240000" cy="526316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216000" rtlCol="0" anchor="t"/>
          <a:lstStyle/>
          <a:p>
            <a:pPr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НЕОБХІДНІ</a:t>
            </a:r>
            <a:br>
              <a:rPr lang="uk-UA" sz="1600" dirty="0">
                <a:solidFill>
                  <a:schemeClr val="tx2"/>
                </a:solidFill>
                <a:latin typeface="+mj-lt"/>
              </a:rPr>
            </a:br>
            <a:r>
              <a:rPr lang="uk-UA" sz="1600" dirty="0">
                <a:solidFill>
                  <a:schemeClr val="tx2"/>
                </a:solidFill>
                <a:latin typeface="+mj-lt"/>
              </a:rPr>
              <a:t>ІНВЕСТИЦІЇ</a:t>
            </a:r>
          </a:p>
          <a:p>
            <a:pPr>
              <a:spcAft>
                <a:spcPts val="1800"/>
              </a:spcAft>
            </a:pP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 err="1">
                <a:solidFill>
                  <a:schemeClr val="tx1"/>
                </a:solidFill>
              </a:rPr>
              <a:t>Які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ресурси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необхідно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використати</a:t>
            </a:r>
            <a:r>
              <a:rPr lang="ru-RU" sz="1400" dirty="0">
                <a:solidFill>
                  <a:schemeClr val="tx1"/>
                </a:solidFill>
              </a:rPr>
              <a:t> для запуску </a:t>
            </a:r>
            <a:r>
              <a:rPr lang="ru-RU" sz="1400" dirty="0" err="1">
                <a:solidFill>
                  <a:schemeClr val="tx1"/>
                </a:solidFill>
              </a:rPr>
              <a:t>цього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підприємства</a:t>
            </a:r>
            <a:r>
              <a:rPr lang="ru-RU" sz="1400" dirty="0">
                <a:solidFill>
                  <a:schemeClr val="tx1"/>
                </a:solidFill>
              </a:rPr>
              <a:t> та </a:t>
            </a:r>
            <a:r>
              <a:rPr lang="ru-RU" sz="1400" dirty="0" err="1">
                <a:solidFill>
                  <a:schemeClr val="tx1"/>
                </a:solidFill>
              </a:rPr>
              <a:t>орієнтовний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фінансовий</a:t>
            </a:r>
            <a:r>
              <a:rPr lang="ru-RU" sz="1400" dirty="0">
                <a:solidFill>
                  <a:schemeClr val="tx1"/>
                </a:solidFill>
              </a:rPr>
              <a:t> план </a:t>
            </a:r>
            <a:r>
              <a:rPr lang="ru-RU" sz="1400" dirty="0" err="1">
                <a:solidFill>
                  <a:schemeClr val="tx1"/>
                </a:solidFill>
              </a:rPr>
              <a:t>діяльності</a:t>
            </a:r>
            <a:endParaRPr lang="uk-UA" sz="14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88500F2A-639E-BFF7-81C1-C72D055D5EDE}"/>
              </a:ext>
            </a:extLst>
          </p:cNvPr>
          <p:cNvSpPr/>
          <p:nvPr/>
        </p:nvSpPr>
        <p:spPr>
          <a:xfrm flipH="1">
            <a:off x="8256675" y="1916112"/>
            <a:ext cx="3240000" cy="5263163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216000" rtlCol="0" anchor="t"/>
          <a:lstStyle/>
          <a:p>
            <a:pPr>
              <a:spcAft>
                <a:spcPts val="1800"/>
              </a:spcAft>
            </a:pPr>
            <a:r>
              <a:rPr lang="uk-UA" sz="1600" dirty="0">
                <a:solidFill>
                  <a:schemeClr val="tx2"/>
                </a:solidFill>
                <a:latin typeface="+mj-lt"/>
              </a:rPr>
              <a:t>НАПРЯМКИ ВИКОРИСТАННЯ ПРИБУТКУ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  <a:p>
            <a:pPr>
              <a:spcAft>
                <a:spcPts val="1800"/>
              </a:spcAft>
            </a:pPr>
            <a:r>
              <a:rPr lang="ru-RU" sz="1400" dirty="0" err="1">
                <a:solidFill>
                  <a:schemeClr val="tx1"/>
                </a:solidFill>
              </a:rPr>
              <a:t>Які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соціальні</a:t>
            </a:r>
            <a:r>
              <a:rPr lang="ru-RU" sz="1400" dirty="0">
                <a:solidFill>
                  <a:schemeClr val="tx1"/>
                </a:solidFill>
              </a:rPr>
              <a:t> проєкти </a:t>
            </a:r>
            <a:r>
              <a:rPr lang="ru-RU" sz="1400" dirty="0" err="1">
                <a:solidFill>
                  <a:schemeClr val="tx1"/>
                </a:solidFill>
              </a:rPr>
              <a:t>можна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реалізувати</a:t>
            </a:r>
            <a:r>
              <a:rPr lang="ru-RU" sz="1400" dirty="0">
                <a:solidFill>
                  <a:schemeClr val="tx1"/>
                </a:solidFill>
              </a:rPr>
              <a:t> на </a:t>
            </a:r>
            <a:r>
              <a:rPr lang="ru-RU" sz="1400" dirty="0" err="1">
                <a:solidFill>
                  <a:schemeClr val="tx1"/>
                </a:solidFill>
              </a:rPr>
              <a:t>отриманий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прибуток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підприємства</a:t>
            </a:r>
            <a:endParaRPr lang="uk-UA" sz="1400" dirty="0">
              <a:solidFill>
                <a:schemeClr val="tx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3444876-A3ED-C5ED-3D78-73DFB1312ED7}"/>
              </a:ext>
            </a:extLst>
          </p:cNvPr>
          <p:cNvSpPr txBox="1">
            <a:spLocks/>
          </p:cNvSpPr>
          <p:nvPr/>
        </p:nvSpPr>
        <p:spPr>
          <a:xfrm>
            <a:off x="695325" y="5815408"/>
            <a:ext cx="3240000" cy="10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1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1BB144-D4C6-195B-24EF-E2D18A3EE1AC}"/>
              </a:ext>
            </a:extLst>
          </p:cNvPr>
          <p:cNvSpPr txBox="1">
            <a:spLocks/>
          </p:cNvSpPr>
          <p:nvPr/>
        </p:nvSpPr>
        <p:spPr>
          <a:xfrm>
            <a:off x="4476000" y="5815408"/>
            <a:ext cx="3240000" cy="10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2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D75D46C-902A-4BCA-2F19-B1B5141243BB}"/>
              </a:ext>
            </a:extLst>
          </p:cNvPr>
          <p:cNvSpPr txBox="1">
            <a:spLocks/>
          </p:cNvSpPr>
          <p:nvPr/>
        </p:nvSpPr>
        <p:spPr>
          <a:xfrm>
            <a:off x="8256675" y="5815408"/>
            <a:ext cx="3240000" cy="10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6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3</a:t>
            </a:r>
          </a:p>
        </p:txBody>
      </p:sp>
      <p:pic>
        <p:nvPicPr>
          <p:cNvPr id="4" name="Picture 2" descr="Check Mark Button on Apple iOS 15.4">
            <a:extLst>
              <a:ext uri="{FF2B5EF4-FFF2-40B4-BE49-F238E27FC236}">
                <a16:creationId xmlns:a16="http://schemas.microsoft.com/office/drawing/2014/main" id="{B177F80C-F3A7-D97B-FB56-842E883F7F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41003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B44F2E-9B47-3003-B4F2-387A09612D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326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B44F2E-9B47-3003-B4F2-387A09612D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38DFB-0C8C-BC5B-4D37-D23CC8103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uk-UA" dirty="0"/>
              <a:t>Під час розробки рішення потрібно врахувати </a:t>
            </a:r>
            <a:r>
              <a:rPr lang="en-US" dirty="0"/>
              <a:t>GESI</a:t>
            </a:r>
            <a:r>
              <a:rPr lang="uk-UA" dirty="0"/>
              <a:t>-принципи</a:t>
            </a:r>
          </a:p>
        </p:txBody>
      </p:sp>
      <p:sp>
        <p:nvSpPr>
          <p:cNvPr id="11" name="Прямоугольник: скругленные углы 20">
            <a:extLst>
              <a:ext uri="{FF2B5EF4-FFF2-40B4-BE49-F238E27FC236}">
                <a16:creationId xmlns:a16="http://schemas.microsoft.com/office/drawing/2014/main" id="{298FFC63-7F0A-72ED-55B8-3E9C0B8E3D82}"/>
              </a:ext>
            </a:extLst>
          </p:cNvPr>
          <p:cNvSpPr/>
          <p:nvPr/>
        </p:nvSpPr>
        <p:spPr>
          <a:xfrm flipH="1">
            <a:off x="695325" y="1916113"/>
            <a:ext cx="10801350" cy="1008000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>
              <a:spcAft>
                <a:spcPts val="1800"/>
              </a:spcAft>
            </a:pPr>
            <a:r>
              <a:rPr lang="en-US" sz="1400" b="1" dirty="0">
                <a:solidFill>
                  <a:schemeClr val="tx1"/>
                </a:solidFill>
              </a:rPr>
              <a:t>GENDER EQUALITY AND SOCIAL INCLUSION (GESI)</a:t>
            </a:r>
            <a:r>
              <a:rPr lang="uk-UA" sz="1400" dirty="0">
                <a:solidFill>
                  <a:schemeClr val="tx1"/>
                </a:solidFill>
              </a:rPr>
              <a:t> </a:t>
            </a:r>
            <a:r>
              <a:rPr lang="en-US" sz="1400" dirty="0">
                <a:solidFill>
                  <a:schemeClr val="tx1"/>
                </a:solidFill>
              </a:rPr>
              <a:t>(</a:t>
            </a:r>
            <a:r>
              <a:rPr lang="uk-UA" sz="1400" i="1" dirty="0">
                <a:solidFill>
                  <a:schemeClr val="tx1"/>
                </a:solidFill>
              </a:rPr>
              <a:t>Гендерна рівність та соціальна інклюзія</a:t>
            </a:r>
            <a:r>
              <a:rPr lang="en-US" sz="1400" i="1" dirty="0">
                <a:solidFill>
                  <a:schemeClr val="tx1"/>
                </a:solidFill>
              </a:rPr>
              <a:t>)</a:t>
            </a:r>
            <a:r>
              <a:rPr lang="en-GB" sz="1400" i="1" dirty="0">
                <a:solidFill>
                  <a:schemeClr val="tx1"/>
                </a:solidFill>
              </a:rPr>
              <a:t> </a:t>
            </a:r>
            <a:r>
              <a:rPr lang="en-GB" sz="1400" dirty="0">
                <a:solidFill>
                  <a:schemeClr val="tx1"/>
                </a:solidFill>
              </a:rPr>
              <a:t>–</a:t>
            </a:r>
            <a:r>
              <a:rPr lang="uk-UA" sz="1400" dirty="0">
                <a:solidFill>
                  <a:schemeClr val="tx1"/>
                </a:solidFill>
              </a:rPr>
              <a:t> це концепти, що дозволяють врахувати різноманітні особливості соціальних груп в громадах. Фактично, </a:t>
            </a:r>
            <a:r>
              <a:rPr lang="en-GB" sz="1400" dirty="0">
                <a:solidFill>
                  <a:schemeClr val="tx1"/>
                </a:solidFill>
              </a:rPr>
              <a:t>GESI </a:t>
            </a:r>
            <a:r>
              <a:rPr lang="uk-UA" sz="1400" dirty="0">
                <a:solidFill>
                  <a:schemeClr val="tx1"/>
                </a:solidFill>
              </a:rPr>
              <a:t>– це про забезпечення рівного доступу представникам різних соціальних груп до будь-яких благ в громаді.</a:t>
            </a:r>
          </a:p>
        </p:txBody>
      </p:sp>
      <p:sp>
        <p:nvSpPr>
          <p:cNvPr id="12" name="Прямоугольник: скругленные углы 20">
            <a:extLst>
              <a:ext uri="{FF2B5EF4-FFF2-40B4-BE49-F238E27FC236}">
                <a16:creationId xmlns:a16="http://schemas.microsoft.com/office/drawing/2014/main" id="{94E556FE-D714-B699-53AE-455005DF3BCB}"/>
              </a:ext>
            </a:extLst>
          </p:cNvPr>
          <p:cNvSpPr/>
          <p:nvPr/>
        </p:nvSpPr>
        <p:spPr>
          <a:xfrm flipH="1">
            <a:off x="1828798" y="3196991"/>
            <a:ext cx="9667875" cy="1330712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uk-UA" sz="1400" b="1" dirty="0">
                <a:solidFill>
                  <a:schemeClr val="tx1"/>
                </a:solidFill>
              </a:rPr>
              <a:t>ЩО ТАКЕ ГЕНДЕРНА РІВНІСТЬ?</a:t>
            </a:r>
            <a:br>
              <a:rPr lang="uk-UA" sz="1400" b="1" dirty="0">
                <a:solidFill>
                  <a:schemeClr val="tx1"/>
                </a:solidFill>
              </a:rPr>
            </a:br>
            <a:r>
              <a:rPr lang="uk-UA" sz="1400" dirty="0">
                <a:solidFill>
                  <a:schemeClr val="tx1"/>
                </a:solidFill>
              </a:rPr>
              <a:t>Це розширення свобод і покращення </a:t>
            </a:r>
            <a:r>
              <a:rPr lang="ru-RU" sz="1400" dirty="0" err="1">
                <a:solidFill>
                  <a:schemeClr val="tx1"/>
                </a:solidFill>
              </a:rPr>
              <a:t>загальної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якості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життя</a:t>
            </a:r>
            <a:r>
              <a:rPr lang="ru-RU" sz="1400" dirty="0">
                <a:solidFill>
                  <a:schemeClr val="tx1"/>
                </a:solidFill>
              </a:rPr>
              <a:t> таким чином, </a:t>
            </a:r>
            <a:r>
              <a:rPr lang="ru-RU" sz="1400" dirty="0" err="1">
                <a:solidFill>
                  <a:schemeClr val="tx1"/>
                </a:solidFill>
              </a:rPr>
              <a:t>щоб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рівність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була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досягнута</a:t>
            </a:r>
            <a:r>
              <a:rPr lang="ru-RU" sz="1400" dirty="0">
                <a:solidFill>
                  <a:schemeClr val="tx1"/>
                </a:solidFill>
              </a:rPr>
              <a:t> без </a:t>
            </a:r>
            <a:r>
              <a:rPr lang="ru-RU" sz="1400" dirty="0" err="1">
                <a:solidFill>
                  <a:schemeClr val="tx1"/>
                </a:solidFill>
              </a:rPr>
              <a:t>шкоди</a:t>
            </a:r>
            <a:r>
              <a:rPr lang="ru-RU" sz="1400" dirty="0">
                <a:solidFill>
                  <a:schemeClr val="tx1"/>
                </a:solidFill>
              </a:rPr>
              <a:t> для </a:t>
            </a:r>
            <a:r>
              <a:rPr lang="ru-RU" sz="1400" dirty="0" err="1">
                <a:solidFill>
                  <a:schemeClr val="tx1"/>
                </a:solidFill>
              </a:rPr>
              <a:t>чоловіків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чи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1"/>
                </a:solidFill>
              </a:rPr>
              <a:t>жінок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i="1" dirty="0">
                <a:solidFill>
                  <a:schemeClr val="tx1"/>
                </a:solidFill>
              </a:rPr>
              <a:t>(</a:t>
            </a:r>
            <a:r>
              <a:rPr lang="ru-RU" sz="1400" i="1" dirty="0" err="1">
                <a:solidFill>
                  <a:schemeClr val="tx1"/>
                </a:solidFill>
              </a:rPr>
              <a:t>наприклад</a:t>
            </a:r>
            <a:r>
              <a:rPr lang="ru-RU" sz="1400" i="1" dirty="0">
                <a:solidFill>
                  <a:schemeClr val="tx1"/>
                </a:solidFill>
              </a:rPr>
              <a:t>, </a:t>
            </a:r>
            <a:r>
              <a:rPr lang="ru-RU" sz="1400" i="1" dirty="0" err="1">
                <a:solidFill>
                  <a:schemeClr val="tx1"/>
                </a:solidFill>
              </a:rPr>
              <a:t>заохочення</a:t>
            </a:r>
            <a:r>
              <a:rPr lang="ru-RU" sz="1400" i="1" dirty="0">
                <a:solidFill>
                  <a:schemeClr val="tx1"/>
                </a:solidFill>
              </a:rPr>
              <a:t> </a:t>
            </a:r>
            <a:r>
              <a:rPr lang="ru-RU" sz="1400" i="1" dirty="0" err="1">
                <a:solidFill>
                  <a:schemeClr val="tx1"/>
                </a:solidFill>
              </a:rPr>
              <a:t>чоловіків</a:t>
            </a:r>
            <a:r>
              <a:rPr lang="ru-RU" sz="1400" i="1" dirty="0">
                <a:solidFill>
                  <a:schemeClr val="tx1"/>
                </a:solidFill>
              </a:rPr>
              <a:t> та </a:t>
            </a:r>
            <a:r>
              <a:rPr lang="ru-RU" sz="1400" i="1" dirty="0" err="1">
                <a:solidFill>
                  <a:schemeClr val="tx1"/>
                </a:solidFill>
              </a:rPr>
              <a:t>жінок</a:t>
            </a:r>
            <a:r>
              <a:rPr lang="ru-RU" sz="1400" i="1" dirty="0">
                <a:solidFill>
                  <a:schemeClr val="tx1"/>
                </a:solidFill>
              </a:rPr>
              <a:t> до </a:t>
            </a:r>
            <a:r>
              <a:rPr lang="ru-RU" sz="1400" i="1" dirty="0" err="1">
                <a:solidFill>
                  <a:schemeClr val="tx1"/>
                </a:solidFill>
              </a:rPr>
              <a:t>роботи</a:t>
            </a:r>
            <a:r>
              <a:rPr lang="ru-RU" sz="1400" i="1" dirty="0">
                <a:solidFill>
                  <a:schemeClr val="tx1"/>
                </a:solidFill>
              </a:rPr>
              <a:t> </a:t>
            </a:r>
            <a:r>
              <a:rPr lang="ru-RU" sz="1400" i="1" dirty="0" err="1">
                <a:solidFill>
                  <a:schemeClr val="tx1"/>
                </a:solidFill>
              </a:rPr>
              <a:t>спільно</a:t>
            </a:r>
            <a:r>
              <a:rPr lang="ru-RU" sz="1400" i="1" dirty="0">
                <a:solidFill>
                  <a:schemeClr val="tx1"/>
                </a:solidFill>
              </a:rPr>
              <a:t> – в рамках про</a:t>
            </a:r>
            <a:r>
              <a:rPr lang="uk-UA" sz="1400" i="1" dirty="0">
                <a:solidFill>
                  <a:schemeClr val="tx1"/>
                </a:solidFill>
              </a:rPr>
              <a:t>є</a:t>
            </a:r>
            <a:r>
              <a:rPr lang="ru-RU" sz="1400" i="1" dirty="0" err="1">
                <a:solidFill>
                  <a:schemeClr val="tx1"/>
                </a:solidFill>
              </a:rPr>
              <a:t>ктів</a:t>
            </a:r>
            <a:r>
              <a:rPr lang="ru-RU" sz="1400" i="1" dirty="0">
                <a:solidFill>
                  <a:schemeClr val="tx1"/>
                </a:solidFill>
              </a:rPr>
              <a:t> </a:t>
            </a:r>
            <a:r>
              <a:rPr lang="ru-RU" sz="1400" i="1" dirty="0" err="1">
                <a:solidFill>
                  <a:schemeClr val="tx1"/>
                </a:solidFill>
              </a:rPr>
              <a:t>чи</a:t>
            </a:r>
            <a:r>
              <a:rPr lang="ru-RU" sz="1400" i="1" dirty="0">
                <a:solidFill>
                  <a:schemeClr val="tx1"/>
                </a:solidFill>
              </a:rPr>
              <a:t> </a:t>
            </a:r>
            <a:r>
              <a:rPr lang="ru-RU" sz="1400" i="1" dirty="0" err="1">
                <a:solidFill>
                  <a:schemeClr val="tx1"/>
                </a:solidFill>
              </a:rPr>
              <a:t>постійної</a:t>
            </a:r>
            <a:r>
              <a:rPr lang="ru-RU" sz="1400" i="1" dirty="0">
                <a:solidFill>
                  <a:schemeClr val="tx1"/>
                </a:solidFill>
              </a:rPr>
              <a:t> </a:t>
            </a:r>
            <a:r>
              <a:rPr lang="ru-RU" sz="1400" i="1" dirty="0" err="1">
                <a:solidFill>
                  <a:schemeClr val="tx1"/>
                </a:solidFill>
              </a:rPr>
              <a:t>діяльності</a:t>
            </a:r>
            <a:r>
              <a:rPr lang="ru-RU" sz="1400" i="1" dirty="0">
                <a:solidFill>
                  <a:schemeClr val="tx1"/>
                </a:solidFill>
              </a:rPr>
              <a:t> </a:t>
            </a:r>
            <a:r>
              <a:rPr lang="ru-RU" sz="1400" i="1" dirty="0" err="1">
                <a:solidFill>
                  <a:schemeClr val="tx1"/>
                </a:solidFill>
              </a:rPr>
              <a:t>організації</a:t>
            </a:r>
            <a:r>
              <a:rPr lang="ru-RU" sz="1400" i="1" dirty="0">
                <a:solidFill>
                  <a:schemeClr val="tx1"/>
                </a:solidFill>
              </a:rPr>
              <a:t>, </a:t>
            </a:r>
            <a:r>
              <a:rPr lang="ru-RU" sz="1400" i="1" dirty="0" err="1">
                <a:solidFill>
                  <a:schemeClr val="tx1"/>
                </a:solidFill>
              </a:rPr>
              <a:t>тощо</a:t>
            </a:r>
            <a:r>
              <a:rPr lang="ru-RU" sz="1400" i="1" dirty="0">
                <a:solidFill>
                  <a:schemeClr val="tx1"/>
                </a:solidFill>
              </a:rPr>
              <a:t>)</a:t>
            </a:r>
            <a:endParaRPr lang="uk-UA" sz="14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: скругленные углы 20">
            <a:extLst>
              <a:ext uri="{FF2B5EF4-FFF2-40B4-BE49-F238E27FC236}">
                <a16:creationId xmlns:a16="http://schemas.microsoft.com/office/drawing/2014/main" id="{BFAE64C3-FBC2-9F95-792A-B28E8594F31B}"/>
              </a:ext>
            </a:extLst>
          </p:cNvPr>
          <p:cNvSpPr/>
          <p:nvPr/>
        </p:nvSpPr>
        <p:spPr>
          <a:xfrm flipH="1">
            <a:off x="1828797" y="4800581"/>
            <a:ext cx="9667875" cy="1330712"/>
          </a:xfrm>
          <a:prstGeom prst="roundRect">
            <a:avLst>
              <a:gd name="adj" fmla="val 9421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r>
              <a:rPr lang="uk-UA" sz="1400" b="1" dirty="0">
                <a:solidFill>
                  <a:schemeClr val="tx1"/>
                </a:solidFill>
              </a:rPr>
              <a:t>ЩО ТАКЕ СОЦІАЛЬНА ІНКЛЮЗІЯ?</a:t>
            </a:r>
            <a:br>
              <a:rPr lang="uk-UA" sz="1400" b="1" dirty="0">
                <a:solidFill>
                  <a:schemeClr val="tx1"/>
                </a:solidFill>
              </a:rPr>
            </a:br>
            <a:r>
              <a:rPr lang="uk-UA" sz="1400" dirty="0">
                <a:solidFill>
                  <a:schemeClr val="tx1"/>
                </a:solidFill>
              </a:rPr>
              <a:t>Соціальна інклюзія — це процес покращення умов для окремих осіб і груп, можливостей та доступності для тих, хто перебуває в невигідному становищі на основі їхньої ідентичності </a:t>
            </a:r>
            <a:r>
              <a:rPr lang="uk-UA" sz="1400" i="1" dirty="0">
                <a:solidFill>
                  <a:schemeClr val="tx1"/>
                </a:solidFill>
              </a:rPr>
              <a:t>(наприклад, дублювання написів для незрячих, уникнення порогів на вході в приміщення для фізичного доступу особам з інвалідність, тощо)</a:t>
            </a:r>
            <a:endParaRPr lang="uk-UA" sz="1400" dirty="0">
              <a:solidFill>
                <a:schemeClr val="tx1"/>
              </a:solidFill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78AECCC6-BC94-4402-12AF-30C211ED145E}"/>
              </a:ext>
            </a:extLst>
          </p:cNvPr>
          <p:cNvGrpSpPr/>
          <p:nvPr/>
        </p:nvGrpSpPr>
        <p:grpSpPr>
          <a:xfrm>
            <a:off x="434160" y="3049200"/>
            <a:ext cx="1175400" cy="2660880"/>
            <a:chOff x="434160" y="3049200"/>
            <a:chExt cx="1175400" cy="266088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7" name="Рукописный ввод 6">
                  <a:extLst>
                    <a:ext uri="{FF2B5EF4-FFF2-40B4-BE49-F238E27FC236}">
                      <a16:creationId xmlns:a16="http://schemas.microsoft.com/office/drawing/2014/main" id="{2482E1EC-7AE6-C4E4-47AC-54D6174073EE}"/>
                    </a:ext>
                  </a:extLst>
                </p14:cNvPr>
                <p14:cNvContentPartPr/>
                <p14:nvPr/>
              </p14:nvContentPartPr>
              <p14:xfrm>
                <a:off x="883800" y="3049200"/>
                <a:ext cx="450720" cy="1024560"/>
              </p14:xfrm>
            </p:contentPart>
          </mc:Choice>
          <mc:Fallback xmlns="">
            <p:pic>
              <p:nvPicPr>
                <p:cNvPr id="7" name="Рукописный ввод 6">
                  <a:extLst>
                    <a:ext uri="{FF2B5EF4-FFF2-40B4-BE49-F238E27FC236}">
                      <a16:creationId xmlns:a16="http://schemas.microsoft.com/office/drawing/2014/main" id="{2482E1EC-7AE6-C4E4-47AC-54D6174073EE}"/>
                    </a:ext>
                  </a:extLst>
                </p:cNvPr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874440" y="3039840"/>
                  <a:ext cx="469080" cy="10432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8" name="Рукописный ввод 7">
                  <a:extLst>
                    <a:ext uri="{FF2B5EF4-FFF2-40B4-BE49-F238E27FC236}">
                      <a16:creationId xmlns:a16="http://schemas.microsoft.com/office/drawing/2014/main" id="{7EBE4766-6A44-AD31-2633-7A25B50A1439}"/>
                    </a:ext>
                  </a:extLst>
                </p14:cNvPr>
                <p14:cNvContentPartPr/>
                <p14:nvPr/>
              </p14:nvContentPartPr>
              <p14:xfrm>
                <a:off x="1009080" y="3749040"/>
                <a:ext cx="526680" cy="459000"/>
              </p14:xfrm>
            </p:contentPart>
          </mc:Choice>
          <mc:Fallback xmlns="">
            <p:pic>
              <p:nvPicPr>
                <p:cNvPr id="8" name="Рукописный ввод 7">
                  <a:extLst>
                    <a:ext uri="{FF2B5EF4-FFF2-40B4-BE49-F238E27FC236}">
                      <a16:creationId xmlns:a16="http://schemas.microsoft.com/office/drawing/2014/main" id="{7EBE4766-6A44-AD31-2633-7A25B50A1439}"/>
                    </a:ext>
                  </a:extLst>
                </p:cNvPr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999720" y="3739680"/>
                  <a:ext cx="545400" cy="477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16" name="Рукописный ввод 15">
                  <a:extLst>
                    <a:ext uri="{FF2B5EF4-FFF2-40B4-BE49-F238E27FC236}">
                      <a16:creationId xmlns:a16="http://schemas.microsoft.com/office/drawing/2014/main" id="{8A456137-29B0-4D9C-FD0B-B96D6C5EFF3B}"/>
                    </a:ext>
                  </a:extLst>
                </p14:cNvPr>
                <p14:cNvContentPartPr/>
                <p14:nvPr/>
              </p14:nvContentPartPr>
              <p14:xfrm>
                <a:off x="434160" y="3075600"/>
                <a:ext cx="949680" cy="2430360"/>
              </p14:xfrm>
            </p:contentPart>
          </mc:Choice>
          <mc:Fallback xmlns="">
            <p:pic>
              <p:nvPicPr>
                <p:cNvPr id="16" name="Рукописный ввод 15">
                  <a:extLst>
                    <a:ext uri="{FF2B5EF4-FFF2-40B4-BE49-F238E27FC236}">
                      <a16:creationId xmlns:a16="http://schemas.microsoft.com/office/drawing/2014/main" id="{8A456137-29B0-4D9C-FD0B-B96D6C5EFF3B}"/>
                    </a:ext>
                  </a:extLst>
                </p:cNvPr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424800" y="3066240"/>
                  <a:ext cx="968400" cy="24490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19" name="Рукописный ввод 18">
                  <a:extLst>
                    <a:ext uri="{FF2B5EF4-FFF2-40B4-BE49-F238E27FC236}">
                      <a16:creationId xmlns:a16="http://schemas.microsoft.com/office/drawing/2014/main" id="{09282352-0DDC-64FD-EE6F-1920900513F0}"/>
                    </a:ext>
                  </a:extLst>
                </p14:cNvPr>
                <p14:cNvContentPartPr/>
                <p14:nvPr/>
              </p14:nvContentPartPr>
              <p14:xfrm>
                <a:off x="1076400" y="5154600"/>
                <a:ext cx="533160" cy="555480"/>
              </p14:xfrm>
            </p:contentPart>
          </mc:Choice>
          <mc:Fallback xmlns="">
            <p:pic>
              <p:nvPicPr>
                <p:cNvPr id="19" name="Рукописный ввод 18">
                  <a:extLst>
                    <a:ext uri="{FF2B5EF4-FFF2-40B4-BE49-F238E27FC236}">
                      <a16:creationId xmlns:a16="http://schemas.microsoft.com/office/drawing/2014/main" id="{09282352-0DDC-64FD-EE6F-1920900513F0}"/>
                    </a:ext>
                  </a:extLst>
                </p:cNvPr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1067040" y="5145600"/>
                  <a:ext cx="551880" cy="5742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5" name="Picture 2" descr="Check Mark Button on Apple iOS 15.4">
            <a:extLst>
              <a:ext uri="{FF2B5EF4-FFF2-40B4-BE49-F238E27FC236}">
                <a16:creationId xmlns:a16="http://schemas.microsoft.com/office/drawing/2014/main" id="{0E9C6C41-D3F1-35CE-2FCD-025BDB2341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090" y="12469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22812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URCC">
      <a:dk1>
        <a:sysClr val="windowText" lastClr="000000"/>
      </a:dk1>
      <a:lt1>
        <a:sysClr val="window" lastClr="FFFFFF"/>
      </a:lt1>
      <a:dk2>
        <a:srgbClr val="14396E"/>
      </a:dk2>
      <a:lt2>
        <a:srgbClr val="E7E6E6"/>
      </a:lt2>
      <a:accent1>
        <a:srgbClr val="B8C3D3"/>
      </a:accent1>
      <a:accent2>
        <a:srgbClr val="35B1E4"/>
      </a:accent2>
      <a:accent3>
        <a:srgbClr val="C2E7F7"/>
      </a:accent3>
      <a:accent4>
        <a:srgbClr val="EFB400"/>
      </a:accent4>
      <a:accent5>
        <a:srgbClr val="FAE8B2"/>
      </a:accent5>
      <a:accent6>
        <a:srgbClr val="CA2110"/>
      </a:accent6>
      <a:hlink>
        <a:srgbClr val="0563C1"/>
      </a:hlink>
      <a:folHlink>
        <a:srgbClr val="954F72"/>
      </a:folHlink>
    </a:clrScheme>
    <a:fontScheme name="Навчання">
      <a:majorFont>
        <a:latin typeface="Ermilov"/>
        <a:ea typeface=""/>
        <a:cs typeface="Arial"/>
      </a:majorFont>
      <a:minorFont>
        <a:latin typeface="Roboto"/>
        <a:ea typeface=""/>
        <a:cs typeface="Arial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8</TotalTime>
  <Words>1184</Words>
  <Application>Microsoft Office PowerPoint</Application>
  <PresentationFormat>Широкий екран</PresentationFormat>
  <Paragraphs>127</Paragraphs>
  <Slides>14</Slides>
  <Notes>0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3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14</vt:i4>
      </vt:variant>
    </vt:vector>
  </HeadingPairs>
  <TitlesOfParts>
    <vt:vector size="19" baseType="lpstr">
      <vt:lpstr>Arial</vt:lpstr>
      <vt:lpstr>Ermilov</vt:lpstr>
      <vt:lpstr>Roboto</vt:lpstr>
      <vt:lpstr>Тема Office</vt:lpstr>
      <vt:lpstr>think-cell Slide</vt:lpstr>
      <vt:lpstr>Презентація PowerPoint</vt:lpstr>
      <vt:lpstr>Презентація PowerPoint</vt:lpstr>
      <vt:lpstr>Саксаганська громада – потенційний осередок економічного зростання Дніпропетровщини</vt:lpstr>
      <vt:lpstr>Війна негативно вплинула на економічну активність в громаді та збільшила потребу в соціальній підтримці для населення</vt:lpstr>
      <vt:lpstr>На якийсь інший заголовок</vt:lpstr>
      <vt:lpstr>Громада виділила можливі напрямки роботи соціального підприємства</vt:lpstr>
      <vt:lpstr>Презентація PowerPoint</vt:lpstr>
      <vt:lpstr>Запропоноване рішення має містити </vt:lpstr>
      <vt:lpstr>Під час розробки рішення потрібно врахувати GESI-принципи</vt:lpstr>
      <vt:lpstr>Громада може надати приміщення для підприємства та залучити людські ресурси</vt:lpstr>
      <vt:lpstr>Під час оцінки рішення будуть враховуватися </vt:lpstr>
      <vt:lpstr>Оцінювати рішення буде команда проєкту* та представники громади </vt:lpstr>
      <vt:lpstr>Для чого вам брати участь у кейс-чемпіонаті Ukraine Recovery Case Championship?</vt:lpstr>
      <vt:lpstr>Що далі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Yaroslav Zhydyk</dc:creator>
  <cp:lastModifiedBy>Yaroslav Zhydyk</cp:lastModifiedBy>
  <cp:revision>1</cp:revision>
  <dcterms:created xsi:type="dcterms:W3CDTF">2022-10-29T10:41:43Z</dcterms:created>
  <dcterms:modified xsi:type="dcterms:W3CDTF">2023-09-09T08:18:15Z</dcterms:modified>
</cp:coreProperties>
</file>